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diagrams/layout9.xml" ContentType="application/vnd.openxmlformats-officedocument.drawingml.diagramLayout+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Override PartName="/ppt/diagrams/drawing10.xml" ContentType="application/vnd.ms-office.drawingml.diagramDrawing+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diagrams/layout6.xml" ContentType="application/vnd.openxmlformats-officedocument.drawingml.diagramLayout+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diagrams/drawing8.xml" ContentType="application/vnd.ms-office.drawingml.diagramDrawing+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diagrams/data9.xml" ContentType="application/vnd.openxmlformats-officedocument.drawingml.diagramData+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diagrams/data6.xml" ContentType="application/vnd.openxmlformats-officedocument.drawingml.diagramData+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diagrams/layout8.xml" ContentType="application/vnd.openxmlformats-officedocument.drawingml.diagramLayout+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tags/tag69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105.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461.xml" ContentType="application/vnd.openxmlformats-officedocument.presentationml.tags+xml"/>
  <Override PartName="/ppt/slideLayouts/slideLayout183.xml" ContentType="application/vnd.openxmlformats-officedocument.presentationml.slideLayout+xml"/>
  <Override PartName="/ppt/tags/tag792.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537.xml" ContentType="application/vnd.openxmlformats-officedocument.presentationml.tags+xml"/>
  <Override PartName="/ppt/tags/tag868.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diagrams/layout10.xml" ContentType="application/vnd.openxmlformats-officedocument.drawingml.diagramLayout+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diagrams/quickStyle9.xml" ContentType="application/vnd.openxmlformats-officedocument.drawingml.diagramStyle+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diagrams/quickStyle6.xml" ContentType="application/vnd.openxmlformats-officedocument.drawingml.diagramStyl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diagrams/quickStyle7.xml" ContentType="application/vnd.openxmlformats-officedocument.drawingml.diagramStyle+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diagrams/layout7.xml" ContentType="application/vnd.openxmlformats-officedocument.drawingml.diagramLayout+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diagrams/drawing9.xml" ContentType="application/vnd.ms-office.drawingml.diagramDrawing+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diagrams/data7.xml" ContentType="application/vnd.openxmlformats-officedocument.drawingml.diagramData+xml"/>
  <Override PartName="/ppt/diagrams/colors9.xml" ContentType="application/vnd.openxmlformats-officedocument.drawingml.diagramColors+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diagrams/colors6.xml" ContentType="application/vnd.openxmlformats-officedocument.drawingml.diagramColor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63"/>
  </p:notesMasterIdLst>
  <p:handoutMasterIdLst>
    <p:handoutMasterId r:id="rId64"/>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2" r:id="rId46"/>
    <p:sldId id="471" r:id="rId47"/>
    <p:sldId id="473" r:id="rId48"/>
    <p:sldId id="455" r:id="rId49"/>
    <p:sldId id="456" r:id="rId50"/>
    <p:sldId id="474" r:id="rId51"/>
    <p:sldId id="475" r:id="rId52"/>
    <p:sldId id="458" r:id="rId53"/>
    <p:sldId id="459" r:id="rId54"/>
    <p:sldId id="464" r:id="rId55"/>
    <p:sldId id="465" r:id="rId56"/>
    <p:sldId id="466" r:id="rId57"/>
    <p:sldId id="468" r:id="rId58"/>
    <p:sldId id="469" r:id="rId59"/>
    <p:sldId id="463" r:id="rId60"/>
    <p:sldId id="451" r:id="rId61"/>
    <p:sldId id="424" r:id="rId62"/>
  </p:sldIdLst>
  <p:sldSz cx="9906000" cy="6858000" type="A4"/>
  <p:notesSz cx="6797675" cy="9874250"/>
  <p:custDataLst>
    <p:tags r:id="rId6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F1C63"/>
    <a:srgbClr val="000000"/>
    <a:srgbClr val="A2BFAF"/>
    <a:srgbClr val="ACB7B2"/>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BDD810E-4844-46C6-93B0-FE175DC5F322}" type="doc">
      <dgm:prSet loTypeId="urn:microsoft.com/office/officeart/2005/8/layout/venn1" loCatId="relationship" qsTypeId="urn:microsoft.com/office/officeart/2005/8/quickstyle/simple1" qsCatId="simple" csTypeId="urn:microsoft.com/office/officeart/2005/8/colors/colorful2" csCatId="colorful" phldr="1"/>
      <dgm:spPr/>
      <dgm:t>
        <a:bodyPr/>
        <a:lstStyle/>
        <a:p>
          <a:endParaRPr lang="en-US"/>
        </a:p>
      </dgm:t>
    </dgm:pt>
    <dgm:pt modelId="{4151F8FE-CEDA-41EA-8C8B-93C5BA9C4D60}">
      <dgm:prSet/>
      <dgm:spPr/>
      <dgm:t>
        <a:bodyPr/>
        <a:lstStyle/>
        <a:p>
          <a:pPr rtl="0"/>
          <a:r>
            <a:rPr lang="en-US" b="0" dirty="0" smtClean="0"/>
            <a:t>Default Region US-EAST-1</a:t>
          </a:r>
          <a:endParaRPr lang="en-US" dirty="0"/>
        </a:p>
      </dgm:t>
    </dgm:pt>
    <dgm:pt modelId="{CBEDF384-71A9-48C1-BE25-20CC24F3CA79}" type="parTrans" cxnId="{3E304B7C-004A-4D37-968F-95D6EA8220F6}">
      <dgm:prSet/>
      <dgm:spPr/>
      <dgm:t>
        <a:bodyPr/>
        <a:lstStyle/>
        <a:p>
          <a:endParaRPr lang="en-US"/>
        </a:p>
      </dgm:t>
    </dgm:pt>
    <dgm:pt modelId="{3A5B3C55-AB8E-42FF-B8FB-9C850ACDABC3}" type="sibTrans" cxnId="{3E304B7C-004A-4D37-968F-95D6EA8220F6}">
      <dgm:prSet/>
      <dgm:spPr/>
      <dgm:t>
        <a:bodyPr/>
        <a:lstStyle/>
        <a:p>
          <a:endParaRPr lang="en-US"/>
        </a:p>
      </dgm:t>
    </dgm:pt>
    <dgm:pt modelId="{52649944-15C2-4C3F-B82E-DFB43A3DBCF5}">
      <dgm:prSet/>
      <dgm:spPr/>
      <dgm:t>
        <a:bodyPr/>
        <a:lstStyle/>
        <a:p>
          <a:pPr rtl="0"/>
          <a:endParaRPr lang="en-US" b="0" dirty="0"/>
        </a:p>
      </dgm:t>
    </dgm:pt>
    <dgm:pt modelId="{0DE55E45-EDC0-47EC-94F0-D1AACB1B3529}" type="parTrans" cxnId="{7BC4FC76-2098-4052-813A-DE49A080D410}">
      <dgm:prSet/>
      <dgm:spPr/>
      <dgm:t>
        <a:bodyPr/>
        <a:lstStyle/>
        <a:p>
          <a:endParaRPr lang="en-US"/>
        </a:p>
      </dgm:t>
    </dgm:pt>
    <dgm:pt modelId="{3EC33BA8-717C-4DB7-A727-C4B69059FBAA}" type="sibTrans" cxnId="{7BC4FC76-2098-4052-813A-DE49A080D410}">
      <dgm:prSet/>
      <dgm:spPr/>
      <dgm:t>
        <a:bodyPr/>
        <a:lstStyle/>
        <a:p>
          <a:endParaRPr lang="en-US"/>
        </a:p>
      </dgm:t>
    </dgm:pt>
    <dgm:pt modelId="{7C6443F2-2CA1-4F40-81A4-5059B071E7A9}">
      <dgm:prSet/>
      <dgm:spPr/>
      <dgm:t>
        <a:bodyPr/>
        <a:lstStyle/>
        <a:p>
          <a:pPr rtl="0"/>
          <a:r>
            <a:rPr lang="en-US" b="0" dirty="0" smtClean="0"/>
            <a:t>Some have default regions (java)</a:t>
          </a:r>
          <a:endParaRPr lang="en-US" dirty="0"/>
        </a:p>
      </dgm:t>
    </dgm:pt>
    <dgm:pt modelId="{AF0606E7-6E43-4DD5-AD7D-019F2F21F673}" type="parTrans" cxnId="{BD1F4476-DE7C-4D70-97E4-9D9B6610A064}">
      <dgm:prSet/>
      <dgm:spPr/>
      <dgm:t>
        <a:bodyPr/>
        <a:lstStyle/>
        <a:p>
          <a:endParaRPr lang="en-US"/>
        </a:p>
      </dgm:t>
    </dgm:pt>
    <dgm:pt modelId="{89575185-6436-4B54-85B1-A68309FFBFCD}" type="sibTrans" cxnId="{BD1F4476-DE7C-4D70-97E4-9D9B6610A064}">
      <dgm:prSet/>
      <dgm:spPr/>
      <dgm:t>
        <a:bodyPr/>
        <a:lstStyle/>
        <a:p>
          <a:endParaRPr lang="en-US"/>
        </a:p>
      </dgm:t>
    </dgm:pt>
    <dgm:pt modelId="{8236DEAB-3799-443C-BFE5-BB1279240CE5}">
      <dgm:prSet/>
      <dgm:spPr/>
      <dgm:t>
        <a:bodyPr/>
        <a:lstStyle/>
        <a:p>
          <a:pPr rtl="0"/>
          <a:endParaRPr lang="en-US" b="0" dirty="0"/>
        </a:p>
      </dgm:t>
    </dgm:pt>
    <dgm:pt modelId="{ECF6B4B6-4955-4446-86E5-7A29E96C40C7}" type="parTrans" cxnId="{C5F54F2D-66B0-47C7-AAA9-E69E5F024A29}">
      <dgm:prSet/>
      <dgm:spPr/>
      <dgm:t>
        <a:bodyPr/>
        <a:lstStyle/>
        <a:p>
          <a:endParaRPr lang="en-US"/>
        </a:p>
      </dgm:t>
    </dgm:pt>
    <dgm:pt modelId="{50951166-C6C5-40DB-92A5-D9D822AAC7AB}" type="sibTrans" cxnId="{C5F54F2D-66B0-47C7-AAA9-E69E5F024A29}">
      <dgm:prSet/>
      <dgm:spPr/>
      <dgm:t>
        <a:bodyPr/>
        <a:lstStyle/>
        <a:p>
          <a:endParaRPr lang="en-US"/>
        </a:p>
      </dgm:t>
    </dgm:pt>
    <dgm:pt modelId="{4B0CB482-13D3-4D77-9B21-CAE2D680728A}">
      <dgm:prSet/>
      <dgm:spPr/>
      <dgm:t>
        <a:bodyPr/>
        <a:lstStyle/>
        <a:p>
          <a:pPr rtl="0"/>
          <a:r>
            <a:rPr lang="en-US" b="0" dirty="0" smtClean="0"/>
            <a:t>Some do not (Node.js)</a:t>
          </a:r>
          <a:endParaRPr lang="en-US" b="0" dirty="0"/>
        </a:p>
      </dgm:t>
    </dgm:pt>
    <dgm:pt modelId="{818BFB4F-47F1-4161-993C-C123E8ECF105}" type="parTrans" cxnId="{A424E674-01EC-40CE-934C-8C96A4B13819}">
      <dgm:prSet/>
      <dgm:spPr/>
      <dgm:t>
        <a:bodyPr/>
        <a:lstStyle/>
        <a:p>
          <a:endParaRPr lang="en-US"/>
        </a:p>
      </dgm:t>
    </dgm:pt>
    <dgm:pt modelId="{9114628C-1732-4E16-94D2-549FE57E9FA8}" type="sibTrans" cxnId="{A424E674-01EC-40CE-934C-8C96A4B13819}">
      <dgm:prSet/>
      <dgm:spPr/>
      <dgm:t>
        <a:bodyPr/>
        <a:lstStyle/>
        <a:p>
          <a:endParaRPr lang="en-US"/>
        </a:p>
      </dgm:t>
    </dgm:pt>
    <dgm:pt modelId="{EB7D709A-A865-4B37-A667-100B7B61D4F1}" type="pres">
      <dgm:prSet presAssocID="{0BDD810E-4844-46C6-93B0-FE175DC5F322}" presName="compositeShape" presStyleCnt="0">
        <dgm:presLayoutVars>
          <dgm:chMax val="7"/>
          <dgm:dir/>
          <dgm:resizeHandles val="exact"/>
        </dgm:presLayoutVars>
      </dgm:prSet>
      <dgm:spPr/>
    </dgm:pt>
    <dgm:pt modelId="{7638BD26-6F6E-454C-B2B1-98B2246EEA1A}" type="pres">
      <dgm:prSet presAssocID="{4151F8FE-CEDA-41EA-8C8B-93C5BA9C4D60}" presName="circ1" presStyleLbl="vennNode1" presStyleIdx="0" presStyleCnt="5"/>
      <dgm:spPr/>
    </dgm:pt>
    <dgm:pt modelId="{FAB7CF05-0843-4C9A-B99E-118B95B83C2A}" type="pres">
      <dgm:prSet presAssocID="{4151F8FE-CEDA-41EA-8C8B-93C5BA9C4D60}" presName="circ1Tx" presStyleLbl="revTx" presStyleIdx="0" presStyleCnt="0">
        <dgm:presLayoutVars>
          <dgm:chMax val="0"/>
          <dgm:chPref val="0"/>
          <dgm:bulletEnabled val="1"/>
        </dgm:presLayoutVars>
      </dgm:prSet>
      <dgm:spPr/>
      <dgm:t>
        <a:bodyPr/>
        <a:lstStyle/>
        <a:p>
          <a:endParaRPr lang="en-US"/>
        </a:p>
      </dgm:t>
    </dgm:pt>
    <dgm:pt modelId="{C8484E8B-F1BF-4EC1-926C-C54542FDC8C0}" type="pres">
      <dgm:prSet presAssocID="{52649944-15C2-4C3F-B82E-DFB43A3DBCF5}" presName="circ2" presStyleLbl="vennNode1" presStyleIdx="1" presStyleCnt="5"/>
      <dgm:spPr/>
    </dgm:pt>
    <dgm:pt modelId="{35E25329-AD58-435E-8F68-9D97513B4589}" type="pres">
      <dgm:prSet presAssocID="{52649944-15C2-4C3F-B82E-DFB43A3DBCF5}" presName="circ2Tx" presStyleLbl="revTx" presStyleIdx="0" presStyleCnt="0">
        <dgm:presLayoutVars>
          <dgm:chMax val="0"/>
          <dgm:chPref val="0"/>
          <dgm:bulletEnabled val="1"/>
        </dgm:presLayoutVars>
      </dgm:prSet>
      <dgm:spPr/>
    </dgm:pt>
    <dgm:pt modelId="{74AC3671-784E-4194-80F6-0505040113E5}" type="pres">
      <dgm:prSet presAssocID="{7C6443F2-2CA1-4F40-81A4-5059B071E7A9}" presName="circ3" presStyleLbl="vennNode1" presStyleIdx="2" presStyleCnt="5"/>
      <dgm:spPr/>
    </dgm:pt>
    <dgm:pt modelId="{D3E0C27A-2C25-476F-A85D-60EE8AE47491}" type="pres">
      <dgm:prSet presAssocID="{7C6443F2-2CA1-4F40-81A4-5059B071E7A9}" presName="circ3Tx" presStyleLbl="revTx" presStyleIdx="0" presStyleCnt="0" custLinFactY="-14062" custLinFactNeighborX="22069" custLinFactNeighborY="-100000">
        <dgm:presLayoutVars>
          <dgm:chMax val="0"/>
          <dgm:chPref val="0"/>
          <dgm:bulletEnabled val="1"/>
        </dgm:presLayoutVars>
      </dgm:prSet>
      <dgm:spPr/>
    </dgm:pt>
    <dgm:pt modelId="{DF210326-BCA3-4088-A4B9-738E127ADC66}" type="pres">
      <dgm:prSet presAssocID="{8236DEAB-3799-443C-BFE5-BB1279240CE5}" presName="circ4" presStyleLbl="vennNode1" presStyleIdx="3" presStyleCnt="5"/>
      <dgm:spPr/>
    </dgm:pt>
    <dgm:pt modelId="{36A1B482-B39C-49B1-8C33-6794F313FF63}" type="pres">
      <dgm:prSet presAssocID="{8236DEAB-3799-443C-BFE5-BB1279240CE5}" presName="circ4Tx" presStyleLbl="revTx" presStyleIdx="0" presStyleCnt="0">
        <dgm:presLayoutVars>
          <dgm:chMax val="0"/>
          <dgm:chPref val="0"/>
          <dgm:bulletEnabled val="1"/>
        </dgm:presLayoutVars>
      </dgm:prSet>
      <dgm:spPr/>
    </dgm:pt>
    <dgm:pt modelId="{62FFB070-A2BE-421F-84BF-F2166C5E0F26}" type="pres">
      <dgm:prSet presAssocID="{4B0CB482-13D3-4D77-9B21-CAE2D680728A}" presName="circ5" presStyleLbl="vennNode1" presStyleIdx="4" presStyleCnt="5"/>
      <dgm:spPr/>
    </dgm:pt>
    <dgm:pt modelId="{2B2463F0-AECF-48B1-95DD-B28E6F776522}" type="pres">
      <dgm:prSet presAssocID="{4B0CB482-13D3-4D77-9B21-CAE2D680728A}" presName="circ5Tx" presStyleLbl="revTx" presStyleIdx="0" presStyleCnt="0" custLinFactNeighborX="-11415" custLinFactNeighborY="70610">
        <dgm:presLayoutVars>
          <dgm:chMax val="0"/>
          <dgm:chPref val="0"/>
          <dgm:bulletEnabled val="1"/>
        </dgm:presLayoutVars>
      </dgm:prSet>
      <dgm:spPr/>
    </dgm:pt>
  </dgm:ptLst>
  <dgm:cxnLst>
    <dgm:cxn modelId="{BD1F4476-DE7C-4D70-97E4-9D9B6610A064}" srcId="{0BDD810E-4844-46C6-93B0-FE175DC5F322}" destId="{7C6443F2-2CA1-4F40-81A4-5059B071E7A9}" srcOrd="2" destOrd="0" parTransId="{AF0606E7-6E43-4DD5-AD7D-019F2F21F673}" sibTransId="{89575185-6436-4B54-85B1-A68309FFBFCD}"/>
    <dgm:cxn modelId="{7BC4FC76-2098-4052-813A-DE49A080D410}" srcId="{0BDD810E-4844-46C6-93B0-FE175DC5F322}" destId="{52649944-15C2-4C3F-B82E-DFB43A3DBCF5}" srcOrd="1" destOrd="0" parTransId="{0DE55E45-EDC0-47EC-94F0-D1AACB1B3529}" sibTransId="{3EC33BA8-717C-4DB7-A727-C4B69059FBAA}"/>
    <dgm:cxn modelId="{C5238E53-6C40-4098-A3C8-4020DDDA45EF}" type="presOf" srcId="{8236DEAB-3799-443C-BFE5-BB1279240CE5}" destId="{36A1B482-B39C-49B1-8C33-6794F313FF63}" srcOrd="0" destOrd="0" presId="urn:microsoft.com/office/officeart/2005/8/layout/venn1"/>
    <dgm:cxn modelId="{9FC46961-3BCE-4456-89E5-83F507855733}" type="presOf" srcId="{7C6443F2-2CA1-4F40-81A4-5059B071E7A9}" destId="{D3E0C27A-2C25-476F-A85D-60EE8AE47491}" srcOrd="0" destOrd="0" presId="urn:microsoft.com/office/officeart/2005/8/layout/venn1"/>
    <dgm:cxn modelId="{96ECB8CB-8361-4A6A-90BD-82665465D2E3}" type="presOf" srcId="{4B0CB482-13D3-4D77-9B21-CAE2D680728A}" destId="{2B2463F0-AECF-48B1-95DD-B28E6F776522}" srcOrd="0" destOrd="0" presId="urn:microsoft.com/office/officeart/2005/8/layout/venn1"/>
    <dgm:cxn modelId="{C5F54F2D-66B0-47C7-AAA9-E69E5F024A29}" srcId="{0BDD810E-4844-46C6-93B0-FE175DC5F322}" destId="{8236DEAB-3799-443C-BFE5-BB1279240CE5}" srcOrd="3" destOrd="0" parTransId="{ECF6B4B6-4955-4446-86E5-7A29E96C40C7}" sibTransId="{50951166-C6C5-40DB-92A5-D9D822AAC7AB}"/>
    <dgm:cxn modelId="{AA9F21F1-A7F3-49E5-B895-E7129F8FC79C}" type="presOf" srcId="{4151F8FE-CEDA-41EA-8C8B-93C5BA9C4D60}" destId="{FAB7CF05-0843-4C9A-B99E-118B95B83C2A}" srcOrd="0" destOrd="0" presId="urn:microsoft.com/office/officeart/2005/8/layout/venn1"/>
    <dgm:cxn modelId="{A424E674-01EC-40CE-934C-8C96A4B13819}" srcId="{0BDD810E-4844-46C6-93B0-FE175DC5F322}" destId="{4B0CB482-13D3-4D77-9B21-CAE2D680728A}" srcOrd="4" destOrd="0" parTransId="{818BFB4F-47F1-4161-993C-C123E8ECF105}" sibTransId="{9114628C-1732-4E16-94D2-549FE57E9FA8}"/>
    <dgm:cxn modelId="{3E304B7C-004A-4D37-968F-95D6EA8220F6}" srcId="{0BDD810E-4844-46C6-93B0-FE175DC5F322}" destId="{4151F8FE-CEDA-41EA-8C8B-93C5BA9C4D60}" srcOrd="0" destOrd="0" parTransId="{CBEDF384-71A9-48C1-BE25-20CC24F3CA79}" sibTransId="{3A5B3C55-AB8E-42FF-B8FB-9C850ACDABC3}"/>
    <dgm:cxn modelId="{11EA938F-7E4E-41FA-BE21-15E23B12477F}" type="presOf" srcId="{0BDD810E-4844-46C6-93B0-FE175DC5F322}" destId="{EB7D709A-A865-4B37-A667-100B7B61D4F1}" srcOrd="0" destOrd="0" presId="urn:microsoft.com/office/officeart/2005/8/layout/venn1"/>
    <dgm:cxn modelId="{EE22C3F9-92BD-4081-A822-7F831808668C}" type="presOf" srcId="{52649944-15C2-4C3F-B82E-DFB43A3DBCF5}" destId="{35E25329-AD58-435E-8F68-9D97513B4589}" srcOrd="0" destOrd="0" presId="urn:microsoft.com/office/officeart/2005/8/layout/venn1"/>
    <dgm:cxn modelId="{EB3064CB-EEE2-4B96-A0FE-269072B69691}" type="presParOf" srcId="{EB7D709A-A865-4B37-A667-100B7B61D4F1}" destId="{7638BD26-6F6E-454C-B2B1-98B2246EEA1A}" srcOrd="0" destOrd="0" presId="urn:microsoft.com/office/officeart/2005/8/layout/venn1"/>
    <dgm:cxn modelId="{30270CB5-AC2C-4A7A-8462-A5650B878531}" type="presParOf" srcId="{EB7D709A-A865-4B37-A667-100B7B61D4F1}" destId="{FAB7CF05-0843-4C9A-B99E-118B95B83C2A}" srcOrd="1" destOrd="0" presId="urn:microsoft.com/office/officeart/2005/8/layout/venn1"/>
    <dgm:cxn modelId="{F5EF324C-FDD5-4F92-9BFD-365EDEE753DB}" type="presParOf" srcId="{EB7D709A-A865-4B37-A667-100B7B61D4F1}" destId="{C8484E8B-F1BF-4EC1-926C-C54542FDC8C0}" srcOrd="2" destOrd="0" presId="urn:microsoft.com/office/officeart/2005/8/layout/venn1"/>
    <dgm:cxn modelId="{43256B23-D9EE-45B4-90DE-7FB236975F87}" type="presParOf" srcId="{EB7D709A-A865-4B37-A667-100B7B61D4F1}" destId="{35E25329-AD58-435E-8F68-9D97513B4589}" srcOrd="3" destOrd="0" presId="urn:microsoft.com/office/officeart/2005/8/layout/venn1"/>
    <dgm:cxn modelId="{34710C8D-E2C2-428E-8A37-3853BB1F2ABC}" type="presParOf" srcId="{EB7D709A-A865-4B37-A667-100B7B61D4F1}" destId="{74AC3671-784E-4194-80F6-0505040113E5}" srcOrd="4" destOrd="0" presId="urn:microsoft.com/office/officeart/2005/8/layout/venn1"/>
    <dgm:cxn modelId="{32B1824C-8B8D-4F75-8D96-1484191F1AAA}" type="presParOf" srcId="{EB7D709A-A865-4B37-A667-100B7B61D4F1}" destId="{D3E0C27A-2C25-476F-A85D-60EE8AE47491}" srcOrd="5" destOrd="0" presId="urn:microsoft.com/office/officeart/2005/8/layout/venn1"/>
    <dgm:cxn modelId="{B3C6D689-F54E-43CE-A756-DA6EF6FCD898}" type="presParOf" srcId="{EB7D709A-A865-4B37-A667-100B7B61D4F1}" destId="{DF210326-BCA3-4088-A4B9-738E127ADC66}" srcOrd="6" destOrd="0" presId="urn:microsoft.com/office/officeart/2005/8/layout/venn1"/>
    <dgm:cxn modelId="{4AB4E077-AE32-4A63-8FFA-AE1EEF9EC517}" type="presParOf" srcId="{EB7D709A-A865-4B37-A667-100B7B61D4F1}" destId="{36A1B482-B39C-49B1-8C33-6794F313FF63}" srcOrd="7" destOrd="0" presId="urn:microsoft.com/office/officeart/2005/8/layout/venn1"/>
    <dgm:cxn modelId="{28924CB4-27D4-415A-B88F-722B74F28774}" type="presParOf" srcId="{EB7D709A-A865-4B37-A667-100B7B61D4F1}" destId="{62FFB070-A2BE-421F-84BF-F2166C5E0F26}" srcOrd="8" destOrd="0" presId="urn:microsoft.com/office/officeart/2005/8/layout/venn1"/>
    <dgm:cxn modelId="{184D7043-9D15-4176-9962-F91FA6E5E851}" type="presParOf" srcId="{EB7D709A-A865-4B37-A667-100B7B61D4F1}" destId="{2B2463F0-AECF-48B1-95DD-B28E6F776522}" srcOrd="9" destOrd="0" presId="urn:microsoft.com/office/officeart/2005/8/layout/ven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D88B86-07C8-4416-9006-09DB10D157BB}"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506E46A3-633C-4040-828D-6DEEC5456E00}">
      <dgm:prSet/>
      <dgm:spPr>
        <a:solidFill>
          <a:schemeClr val="accent2">
            <a:lumMod val="75000"/>
            <a:alpha val="50000"/>
          </a:schemeClr>
        </a:solidFill>
        <a:ln>
          <a:solidFill>
            <a:schemeClr val="accent3">
              <a:lumMod val="60000"/>
              <a:lumOff val="40000"/>
            </a:schemeClr>
          </a:solidFill>
        </a:ln>
      </dgm:spPr>
      <dgm:t>
        <a:bodyPr/>
        <a:lstStyle/>
        <a:p>
          <a:pPr rtl="0"/>
          <a:r>
            <a:rPr lang="en-US" b="0" dirty="0" smtClean="0"/>
            <a:t>On Demand</a:t>
          </a:r>
          <a:endParaRPr lang="en-US" b="0" dirty="0"/>
        </a:p>
      </dgm:t>
    </dgm:pt>
    <dgm:pt modelId="{787A7D40-4019-470D-A9B6-E6B649CDD315}" type="parTrans" cxnId="{1F3D8D77-D3B1-4383-9836-6B5DFF691266}">
      <dgm:prSet/>
      <dgm:spPr/>
      <dgm:t>
        <a:bodyPr/>
        <a:lstStyle/>
        <a:p>
          <a:endParaRPr lang="en-US"/>
        </a:p>
      </dgm:t>
    </dgm:pt>
    <dgm:pt modelId="{981D63DE-885F-4A11-8CBB-9D57F7DB43F3}" type="sibTrans" cxnId="{1F3D8D77-D3B1-4383-9836-6B5DFF691266}">
      <dgm:prSet/>
      <dgm:spPr/>
      <dgm:t>
        <a:bodyPr/>
        <a:lstStyle/>
        <a:p>
          <a:endParaRPr lang="en-US"/>
        </a:p>
      </dgm:t>
    </dgm:pt>
    <dgm:pt modelId="{0DD3EEC8-3180-43B8-A652-CBB2C6F65188}">
      <dgm:prSet/>
      <dgm:spPr>
        <a:solidFill>
          <a:schemeClr val="accent4">
            <a:lumMod val="40000"/>
            <a:lumOff val="60000"/>
            <a:alpha val="50000"/>
          </a:schemeClr>
        </a:solidFill>
      </dgm:spPr>
      <dgm:t>
        <a:bodyPr/>
        <a:lstStyle/>
        <a:p>
          <a:pPr rtl="0"/>
          <a:r>
            <a:rPr lang="en-US" b="0" dirty="0" smtClean="0"/>
            <a:t>Reserved</a:t>
          </a:r>
          <a:endParaRPr lang="en-US" dirty="0"/>
        </a:p>
      </dgm:t>
    </dgm:pt>
    <dgm:pt modelId="{C0D031EA-CE24-4043-9B19-E324AE70EC04}" type="parTrans" cxnId="{E895A5D8-768C-4C41-9CCB-61B04D19EC03}">
      <dgm:prSet/>
      <dgm:spPr/>
      <dgm:t>
        <a:bodyPr/>
        <a:lstStyle/>
        <a:p>
          <a:endParaRPr lang="en-US"/>
        </a:p>
      </dgm:t>
    </dgm:pt>
    <dgm:pt modelId="{DFC5027B-2BA3-4170-B191-BCF25A128240}" type="sibTrans" cxnId="{E895A5D8-768C-4C41-9CCB-61B04D19EC03}">
      <dgm:prSet/>
      <dgm:spPr/>
      <dgm:t>
        <a:bodyPr/>
        <a:lstStyle/>
        <a:p>
          <a:endParaRPr lang="en-US"/>
        </a:p>
      </dgm:t>
    </dgm:pt>
    <dgm:pt modelId="{D1834DE8-7309-4796-BCC4-36C87CA8299E}">
      <dgm:prSet/>
      <dgm:spPr>
        <a:solidFill>
          <a:schemeClr val="accent3">
            <a:alpha val="50000"/>
          </a:schemeClr>
        </a:solidFill>
      </dgm:spPr>
      <dgm:t>
        <a:bodyPr/>
        <a:lstStyle/>
        <a:p>
          <a:pPr rtl="0"/>
          <a:r>
            <a:rPr lang="en-US" b="0" dirty="0" smtClean="0"/>
            <a:t>Spot</a:t>
          </a:r>
          <a:endParaRPr lang="en-US" b="0" dirty="0"/>
        </a:p>
      </dgm:t>
    </dgm:pt>
    <dgm:pt modelId="{ED7B85B1-5806-4FF7-A346-0F59E428515D}" type="parTrans" cxnId="{60DCA3CD-77BB-4E83-9159-637F71D0530A}">
      <dgm:prSet/>
      <dgm:spPr/>
      <dgm:t>
        <a:bodyPr/>
        <a:lstStyle/>
        <a:p>
          <a:endParaRPr lang="en-US"/>
        </a:p>
      </dgm:t>
    </dgm:pt>
    <dgm:pt modelId="{868129BF-FF82-47DB-B6C5-D56D5CC5F94C}" type="sibTrans" cxnId="{60DCA3CD-77BB-4E83-9159-637F71D0530A}">
      <dgm:prSet/>
      <dgm:spPr/>
      <dgm:t>
        <a:bodyPr/>
        <a:lstStyle/>
        <a:p>
          <a:endParaRPr lang="en-US"/>
        </a:p>
      </dgm:t>
    </dgm:pt>
    <dgm:pt modelId="{D67EADB7-BC06-45EE-B991-8A55288697EE}" type="pres">
      <dgm:prSet presAssocID="{6ED88B86-07C8-4416-9006-09DB10D157BB}" presName="compositeShape" presStyleCnt="0">
        <dgm:presLayoutVars>
          <dgm:chMax val="7"/>
          <dgm:dir/>
          <dgm:resizeHandles val="exact"/>
        </dgm:presLayoutVars>
      </dgm:prSet>
      <dgm:spPr/>
    </dgm:pt>
    <dgm:pt modelId="{2F8F03B1-7E34-42E7-9A41-ADCF1F2E7850}" type="pres">
      <dgm:prSet presAssocID="{506E46A3-633C-4040-828D-6DEEC5456E00}" presName="circ1" presStyleLbl="vennNode1" presStyleIdx="0" presStyleCnt="3"/>
      <dgm:spPr/>
    </dgm:pt>
    <dgm:pt modelId="{3DADD003-ACFE-4299-BF81-45FD628A1478}" type="pres">
      <dgm:prSet presAssocID="{506E46A3-633C-4040-828D-6DEEC5456E00}" presName="circ1Tx" presStyleLbl="revTx" presStyleIdx="0" presStyleCnt="0">
        <dgm:presLayoutVars>
          <dgm:chMax val="0"/>
          <dgm:chPref val="0"/>
          <dgm:bulletEnabled val="1"/>
        </dgm:presLayoutVars>
      </dgm:prSet>
      <dgm:spPr/>
    </dgm:pt>
    <dgm:pt modelId="{99E77B29-6547-46C5-ACC4-C04B1223F567}" type="pres">
      <dgm:prSet presAssocID="{0DD3EEC8-3180-43B8-A652-CBB2C6F65188}" presName="circ2" presStyleLbl="vennNode1" presStyleIdx="1" presStyleCnt="3"/>
      <dgm:spPr/>
    </dgm:pt>
    <dgm:pt modelId="{3E2FCF09-B915-4854-AD5E-971AEB58A47D}" type="pres">
      <dgm:prSet presAssocID="{0DD3EEC8-3180-43B8-A652-CBB2C6F65188}" presName="circ2Tx" presStyleLbl="revTx" presStyleIdx="0" presStyleCnt="0">
        <dgm:presLayoutVars>
          <dgm:chMax val="0"/>
          <dgm:chPref val="0"/>
          <dgm:bulletEnabled val="1"/>
        </dgm:presLayoutVars>
      </dgm:prSet>
      <dgm:spPr/>
    </dgm:pt>
    <dgm:pt modelId="{61689B41-3D35-49B9-B86D-7E7DC6EB5D94}" type="pres">
      <dgm:prSet presAssocID="{D1834DE8-7309-4796-BCC4-36C87CA8299E}" presName="circ3" presStyleLbl="vennNode1" presStyleIdx="2" presStyleCnt="3"/>
      <dgm:spPr/>
    </dgm:pt>
    <dgm:pt modelId="{90CAB592-5FA4-4ED1-8368-42E29B07931A}" type="pres">
      <dgm:prSet presAssocID="{D1834DE8-7309-4796-BCC4-36C87CA8299E}" presName="circ3Tx" presStyleLbl="revTx" presStyleIdx="0" presStyleCnt="0">
        <dgm:presLayoutVars>
          <dgm:chMax val="0"/>
          <dgm:chPref val="0"/>
          <dgm:bulletEnabled val="1"/>
        </dgm:presLayoutVars>
      </dgm:prSet>
      <dgm:spPr/>
    </dgm:pt>
  </dgm:ptLst>
  <dgm:cxnLst>
    <dgm:cxn modelId="{87CDD4E1-3AAD-419A-8A0B-2B484A5B5833}" type="presOf" srcId="{6ED88B86-07C8-4416-9006-09DB10D157BB}" destId="{D67EADB7-BC06-45EE-B991-8A55288697EE}" srcOrd="0" destOrd="0" presId="urn:microsoft.com/office/officeart/2005/8/layout/venn1"/>
    <dgm:cxn modelId="{1D0D21AC-63B4-4446-A035-AFD35D65FE41}" type="presOf" srcId="{0DD3EEC8-3180-43B8-A652-CBB2C6F65188}" destId="{99E77B29-6547-46C5-ACC4-C04B1223F567}" srcOrd="0" destOrd="0" presId="urn:microsoft.com/office/officeart/2005/8/layout/venn1"/>
    <dgm:cxn modelId="{222DA204-9968-465C-9E2F-B679C90B5FE5}" type="presOf" srcId="{D1834DE8-7309-4796-BCC4-36C87CA8299E}" destId="{61689B41-3D35-49B9-B86D-7E7DC6EB5D94}" srcOrd="0" destOrd="0" presId="urn:microsoft.com/office/officeart/2005/8/layout/venn1"/>
    <dgm:cxn modelId="{E895A5D8-768C-4C41-9CCB-61B04D19EC03}" srcId="{6ED88B86-07C8-4416-9006-09DB10D157BB}" destId="{0DD3EEC8-3180-43B8-A652-CBB2C6F65188}" srcOrd="1" destOrd="0" parTransId="{C0D031EA-CE24-4043-9B19-E324AE70EC04}" sibTransId="{DFC5027B-2BA3-4170-B191-BCF25A128240}"/>
    <dgm:cxn modelId="{BC65EF73-24D3-4464-9A2D-B0D1A1BBCA2B}" type="presOf" srcId="{0DD3EEC8-3180-43B8-A652-CBB2C6F65188}" destId="{3E2FCF09-B915-4854-AD5E-971AEB58A47D}" srcOrd="1" destOrd="0" presId="urn:microsoft.com/office/officeart/2005/8/layout/venn1"/>
    <dgm:cxn modelId="{13A58B5C-3D1D-4AB6-BFAE-6A783950C86E}" type="presOf" srcId="{506E46A3-633C-4040-828D-6DEEC5456E00}" destId="{3DADD003-ACFE-4299-BF81-45FD628A1478}" srcOrd="1" destOrd="0" presId="urn:microsoft.com/office/officeart/2005/8/layout/venn1"/>
    <dgm:cxn modelId="{90473F39-01F4-4D64-A1AD-A83B8C279DC3}" type="presOf" srcId="{506E46A3-633C-4040-828D-6DEEC5456E00}" destId="{2F8F03B1-7E34-42E7-9A41-ADCF1F2E7850}" srcOrd="0" destOrd="0" presId="urn:microsoft.com/office/officeart/2005/8/layout/venn1"/>
    <dgm:cxn modelId="{E474F896-646B-4736-AB4B-9064254E5F98}" type="presOf" srcId="{D1834DE8-7309-4796-BCC4-36C87CA8299E}" destId="{90CAB592-5FA4-4ED1-8368-42E29B07931A}" srcOrd="1" destOrd="0" presId="urn:microsoft.com/office/officeart/2005/8/layout/venn1"/>
    <dgm:cxn modelId="{1F3D8D77-D3B1-4383-9836-6B5DFF691266}" srcId="{6ED88B86-07C8-4416-9006-09DB10D157BB}" destId="{506E46A3-633C-4040-828D-6DEEC5456E00}" srcOrd="0" destOrd="0" parTransId="{787A7D40-4019-470D-A9B6-E6B649CDD315}" sibTransId="{981D63DE-885F-4A11-8CBB-9D57F7DB43F3}"/>
    <dgm:cxn modelId="{60DCA3CD-77BB-4E83-9159-637F71D0530A}" srcId="{6ED88B86-07C8-4416-9006-09DB10D157BB}" destId="{D1834DE8-7309-4796-BCC4-36C87CA8299E}" srcOrd="2" destOrd="0" parTransId="{ED7B85B1-5806-4FF7-A346-0F59E428515D}" sibTransId="{868129BF-FF82-47DB-B6C5-D56D5CC5F94C}"/>
    <dgm:cxn modelId="{582C6B5E-4632-491F-A883-1EC76FD78B69}" type="presParOf" srcId="{D67EADB7-BC06-45EE-B991-8A55288697EE}" destId="{2F8F03B1-7E34-42E7-9A41-ADCF1F2E7850}" srcOrd="0" destOrd="0" presId="urn:microsoft.com/office/officeart/2005/8/layout/venn1"/>
    <dgm:cxn modelId="{70F6F999-C65E-4473-986C-DDCDAA466FF8}" type="presParOf" srcId="{D67EADB7-BC06-45EE-B991-8A55288697EE}" destId="{3DADD003-ACFE-4299-BF81-45FD628A1478}" srcOrd="1" destOrd="0" presId="urn:microsoft.com/office/officeart/2005/8/layout/venn1"/>
    <dgm:cxn modelId="{39AFB277-8543-48A5-B07E-C9176C6D0F73}" type="presParOf" srcId="{D67EADB7-BC06-45EE-B991-8A55288697EE}" destId="{99E77B29-6547-46C5-ACC4-C04B1223F567}" srcOrd="2" destOrd="0" presId="urn:microsoft.com/office/officeart/2005/8/layout/venn1"/>
    <dgm:cxn modelId="{053AC73B-303A-4E9D-BAF3-5EA0C506D406}" type="presParOf" srcId="{D67EADB7-BC06-45EE-B991-8A55288697EE}" destId="{3E2FCF09-B915-4854-AD5E-971AEB58A47D}" srcOrd="3" destOrd="0" presId="urn:microsoft.com/office/officeart/2005/8/layout/venn1"/>
    <dgm:cxn modelId="{E7A4A0F3-96C9-4C79-A8A2-B45F9A079B58}" type="presParOf" srcId="{D67EADB7-BC06-45EE-B991-8A55288697EE}" destId="{61689B41-3D35-49B9-B86D-7E7DC6EB5D94}" srcOrd="4" destOrd="0" presId="urn:microsoft.com/office/officeart/2005/8/layout/venn1"/>
    <dgm:cxn modelId="{1097EAB7-FD32-4108-8AB6-8B27FA928516}" type="presParOf" srcId="{D67EADB7-BC06-45EE-B991-8A55288697EE}" destId="{90CAB592-5FA4-4ED1-8368-42E29B07931A}" srcOrd="5" destOrd="0" presId="urn:microsoft.com/office/officeart/2005/8/layout/ven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9C2E16B-9F79-4B9D-8CEE-0C1B1D196F5C}" type="doc">
      <dgm:prSet loTypeId="urn:microsoft.com/office/officeart/2005/8/layout/venn2" loCatId="relationship" qsTypeId="urn:microsoft.com/office/officeart/2005/8/quickstyle/simple1" qsCatId="simple" csTypeId="urn:microsoft.com/office/officeart/2005/8/colors/colorful1" csCatId="colorful" phldr="1"/>
      <dgm:spPr/>
      <dgm:t>
        <a:bodyPr/>
        <a:lstStyle/>
        <a:p>
          <a:endParaRPr lang="en-US"/>
        </a:p>
      </dgm:t>
    </dgm:pt>
    <dgm:pt modelId="{C084010D-C474-4011-9F0F-607BFD73E5EC}">
      <dgm:prSet phldrT="[Text]"/>
      <dgm:spPr/>
      <dgm:t>
        <a:bodyPr/>
        <a:lstStyle/>
        <a:p>
          <a:r>
            <a:rPr lang="en-US" dirty="0" smtClean="0"/>
            <a:t>G</a:t>
          </a:r>
          <a:endParaRPr lang="en-US" dirty="0"/>
        </a:p>
      </dgm:t>
    </dgm:pt>
    <dgm:pt modelId="{B93C712A-A79F-439B-965D-8FD40B8EFAFB}" type="parTrans" cxnId="{0FB96CA1-F060-498D-9AC7-1F13B7D9E912}">
      <dgm:prSet/>
      <dgm:spPr/>
      <dgm:t>
        <a:bodyPr/>
        <a:lstStyle/>
        <a:p>
          <a:endParaRPr lang="en-US"/>
        </a:p>
      </dgm:t>
    </dgm:pt>
    <dgm:pt modelId="{C37C5C39-13A0-4B8B-A2C2-E94AC19359A0}" type="sibTrans" cxnId="{0FB96CA1-F060-498D-9AC7-1F13B7D9E912}">
      <dgm:prSet/>
      <dgm:spPr/>
      <dgm:t>
        <a:bodyPr/>
        <a:lstStyle/>
        <a:p>
          <a:endParaRPr lang="en-US"/>
        </a:p>
      </dgm:t>
    </dgm:pt>
    <dgm:pt modelId="{5FC5BF60-620D-4561-BCBE-271BE70672F7}">
      <dgm:prSet phldrT="[Text]"/>
      <dgm:spPr/>
      <dgm:t>
        <a:bodyPr/>
        <a:lstStyle/>
        <a:p>
          <a:r>
            <a:rPr lang="en-US" dirty="0" smtClean="0"/>
            <a:t>R</a:t>
          </a:r>
          <a:endParaRPr lang="en-US" dirty="0"/>
        </a:p>
      </dgm:t>
    </dgm:pt>
    <dgm:pt modelId="{5762BA79-EE31-429D-93A0-0A175CC8015D}" type="parTrans" cxnId="{9B2EAFE0-4B8F-4BAA-8091-57D80BFE040B}">
      <dgm:prSet/>
      <dgm:spPr/>
      <dgm:t>
        <a:bodyPr/>
        <a:lstStyle/>
        <a:p>
          <a:endParaRPr lang="en-US"/>
        </a:p>
      </dgm:t>
    </dgm:pt>
    <dgm:pt modelId="{5768D202-BBF2-47CF-94D2-F45D35E0FC74}" type="sibTrans" cxnId="{9B2EAFE0-4B8F-4BAA-8091-57D80BFE040B}">
      <dgm:prSet/>
      <dgm:spPr/>
      <dgm:t>
        <a:bodyPr/>
        <a:lstStyle/>
        <a:p>
          <a:endParaRPr lang="en-US"/>
        </a:p>
      </dgm:t>
    </dgm:pt>
    <dgm:pt modelId="{37D8113A-660B-43D0-8C06-79A838C7653D}">
      <dgm:prSet phldrT="[Text]" custT="1"/>
      <dgm:spPr/>
      <dgm:t>
        <a:bodyPr/>
        <a:lstStyle/>
        <a:p>
          <a:r>
            <a:rPr lang="en-US" sz="1400" b="1" dirty="0" smtClean="0"/>
            <a:t>I</a:t>
          </a:r>
          <a:endParaRPr lang="en-US" sz="1400" b="1" dirty="0"/>
        </a:p>
      </dgm:t>
    </dgm:pt>
    <dgm:pt modelId="{888E87A8-A139-4080-88EA-167FF422627F}" type="parTrans" cxnId="{F76F23DF-3477-4C56-8460-CE108C3EAAC0}">
      <dgm:prSet/>
      <dgm:spPr/>
      <dgm:t>
        <a:bodyPr/>
        <a:lstStyle/>
        <a:p>
          <a:endParaRPr lang="en-US"/>
        </a:p>
      </dgm:t>
    </dgm:pt>
    <dgm:pt modelId="{3E82C5CF-600B-4C62-9465-3AC3B41DC3F6}" type="sibTrans" cxnId="{F76F23DF-3477-4C56-8460-CE108C3EAAC0}">
      <dgm:prSet/>
      <dgm:spPr/>
      <dgm:t>
        <a:bodyPr/>
        <a:lstStyle/>
        <a:p>
          <a:endParaRPr lang="en-US"/>
        </a:p>
      </dgm:t>
    </dgm:pt>
    <dgm:pt modelId="{25F700F9-5BDC-459D-BDF3-DD7503CC23B9}">
      <dgm:prSet phldrT="[Text]" custT="1"/>
      <dgm:spPr/>
      <dgm:t>
        <a:bodyPr/>
        <a:lstStyle/>
        <a:p>
          <a:r>
            <a:rPr lang="en-US" sz="1400" b="1" dirty="0" smtClean="0"/>
            <a:t>D</a:t>
          </a:r>
          <a:endParaRPr lang="en-US" sz="1400" b="1" dirty="0"/>
        </a:p>
      </dgm:t>
    </dgm:pt>
    <dgm:pt modelId="{9B32DE3D-5CDC-49C8-9395-938D3338BD24}" type="parTrans" cxnId="{00A723E4-8F52-47DF-AEE9-C75A7A2A63CD}">
      <dgm:prSet/>
      <dgm:spPr/>
      <dgm:t>
        <a:bodyPr/>
        <a:lstStyle/>
        <a:p>
          <a:endParaRPr lang="en-US"/>
        </a:p>
      </dgm:t>
    </dgm:pt>
    <dgm:pt modelId="{3CB0FAA0-0537-4CA7-A0ED-1EA08FBC285F}" type="sibTrans" cxnId="{00A723E4-8F52-47DF-AEE9-C75A7A2A63CD}">
      <dgm:prSet/>
      <dgm:spPr/>
      <dgm:t>
        <a:bodyPr/>
        <a:lstStyle/>
        <a:p>
          <a:endParaRPr lang="en-US"/>
        </a:p>
      </dgm:t>
    </dgm:pt>
    <dgm:pt modelId="{5AF04C22-82D8-446C-B3FF-471E451ECE93}">
      <dgm:prSet phldrT="[Text]"/>
      <dgm:spPr/>
      <dgm:t>
        <a:bodyPr/>
        <a:lstStyle/>
        <a:p>
          <a:r>
            <a:rPr lang="en-US" dirty="0" smtClean="0"/>
            <a:t>T</a:t>
          </a:r>
          <a:endParaRPr lang="en-US" dirty="0"/>
        </a:p>
      </dgm:t>
    </dgm:pt>
    <dgm:pt modelId="{5E98D8DD-4710-4D12-9BF1-6FD6BB2F0DB0}" type="parTrans" cxnId="{E668E2A0-7219-4D7C-BC1D-52773BE01577}">
      <dgm:prSet/>
      <dgm:spPr/>
      <dgm:t>
        <a:bodyPr/>
        <a:lstStyle/>
        <a:p>
          <a:endParaRPr lang="en-US"/>
        </a:p>
      </dgm:t>
    </dgm:pt>
    <dgm:pt modelId="{AEC127D9-0001-4B54-B802-08D11299324C}" type="sibTrans" cxnId="{E668E2A0-7219-4D7C-BC1D-52773BE01577}">
      <dgm:prSet/>
      <dgm:spPr/>
      <dgm:t>
        <a:bodyPr/>
        <a:lstStyle/>
        <a:p>
          <a:endParaRPr lang="en-US"/>
        </a:p>
      </dgm:t>
    </dgm:pt>
    <dgm:pt modelId="{D71221AE-95AA-4E3C-8DC0-2D6121615EB8}">
      <dgm:prSet phldrT="[Text]"/>
      <dgm:spPr/>
      <dgm:t>
        <a:bodyPr/>
        <a:lstStyle/>
        <a:p>
          <a:r>
            <a:rPr lang="en-US" dirty="0" smtClean="0"/>
            <a:t>C</a:t>
          </a:r>
          <a:endParaRPr lang="en-US" dirty="0"/>
        </a:p>
      </dgm:t>
    </dgm:pt>
    <dgm:pt modelId="{5A12E2A4-1B11-4A4E-8E24-ED53CAA3FC55}" type="parTrans" cxnId="{183C80E9-F68C-4F21-858B-53301C375A18}">
      <dgm:prSet/>
      <dgm:spPr/>
      <dgm:t>
        <a:bodyPr/>
        <a:lstStyle/>
        <a:p>
          <a:endParaRPr lang="en-US"/>
        </a:p>
      </dgm:t>
    </dgm:pt>
    <dgm:pt modelId="{44086A72-F2BD-4CA6-B810-42EC9AD316A6}" type="sibTrans" cxnId="{183C80E9-F68C-4F21-858B-53301C375A18}">
      <dgm:prSet/>
      <dgm:spPr/>
      <dgm:t>
        <a:bodyPr/>
        <a:lstStyle/>
        <a:p>
          <a:endParaRPr lang="en-US"/>
        </a:p>
      </dgm:t>
    </dgm:pt>
    <dgm:pt modelId="{E338D848-50C7-4EF6-9ADB-EF8A6D4C4FFD}">
      <dgm:prSet phldrT="[Text]"/>
      <dgm:spPr/>
      <dgm:t>
        <a:bodyPr/>
        <a:lstStyle/>
        <a:p>
          <a:r>
            <a:rPr lang="en-US" dirty="0" smtClean="0"/>
            <a:t>M</a:t>
          </a:r>
          <a:endParaRPr lang="en-US" dirty="0"/>
        </a:p>
      </dgm:t>
    </dgm:pt>
    <dgm:pt modelId="{8CA56924-DD67-47BF-8B1E-F4676CD67A09}" type="parTrans" cxnId="{1CB69D68-C1CF-4E44-8F8D-5AA0F40FEA46}">
      <dgm:prSet/>
      <dgm:spPr/>
      <dgm:t>
        <a:bodyPr/>
        <a:lstStyle/>
        <a:p>
          <a:endParaRPr lang="en-US"/>
        </a:p>
      </dgm:t>
    </dgm:pt>
    <dgm:pt modelId="{AD3919BF-3AC7-429D-B14B-31D6FB5C812A}" type="sibTrans" cxnId="{1CB69D68-C1CF-4E44-8F8D-5AA0F40FEA46}">
      <dgm:prSet/>
      <dgm:spPr/>
      <dgm:t>
        <a:bodyPr/>
        <a:lstStyle/>
        <a:p>
          <a:endParaRPr lang="en-US"/>
        </a:p>
      </dgm:t>
    </dgm:pt>
    <dgm:pt modelId="{E9E1CE3A-0646-4C2E-994A-37D67D17F3C9}" type="pres">
      <dgm:prSet presAssocID="{49C2E16B-9F79-4B9D-8CEE-0C1B1D196F5C}" presName="Name0" presStyleCnt="0">
        <dgm:presLayoutVars>
          <dgm:chMax val="7"/>
          <dgm:resizeHandles val="exact"/>
        </dgm:presLayoutVars>
      </dgm:prSet>
      <dgm:spPr/>
    </dgm:pt>
    <dgm:pt modelId="{E8A31AE0-7B04-4B00-94C3-46524ED526A0}" type="pres">
      <dgm:prSet presAssocID="{49C2E16B-9F79-4B9D-8CEE-0C1B1D196F5C}" presName="comp1" presStyleCnt="0"/>
      <dgm:spPr/>
    </dgm:pt>
    <dgm:pt modelId="{6E1548B1-11C3-45A3-BC94-DCACCF1C0701}" type="pres">
      <dgm:prSet presAssocID="{49C2E16B-9F79-4B9D-8CEE-0C1B1D196F5C}" presName="circle1" presStyleLbl="node1" presStyleIdx="0" presStyleCnt="7"/>
      <dgm:spPr/>
    </dgm:pt>
    <dgm:pt modelId="{EA4A3545-560B-4AAD-AA9A-53B1A7744B7A}" type="pres">
      <dgm:prSet presAssocID="{49C2E16B-9F79-4B9D-8CEE-0C1B1D196F5C}" presName="c1text" presStyleLbl="node1" presStyleIdx="0" presStyleCnt="7">
        <dgm:presLayoutVars>
          <dgm:bulletEnabled val="1"/>
        </dgm:presLayoutVars>
      </dgm:prSet>
      <dgm:spPr/>
    </dgm:pt>
    <dgm:pt modelId="{EFFF1BB7-85C7-40B5-AEB5-1E8AA3BB5728}" type="pres">
      <dgm:prSet presAssocID="{49C2E16B-9F79-4B9D-8CEE-0C1B1D196F5C}" presName="comp2" presStyleCnt="0"/>
      <dgm:spPr/>
    </dgm:pt>
    <dgm:pt modelId="{57007697-18E7-4A6F-AB61-95072F3F38E5}" type="pres">
      <dgm:prSet presAssocID="{49C2E16B-9F79-4B9D-8CEE-0C1B1D196F5C}" presName="circle2" presStyleLbl="node1" presStyleIdx="1" presStyleCnt="7"/>
      <dgm:spPr/>
    </dgm:pt>
    <dgm:pt modelId="{03C31066-7574-4837-80A8-0C8F7A2CBBF8}" type="pres">
      <dgm:prSet presAssocID="{49C2E16B-9F79-4B9D-8CEE-0C1B1D196F5C}" presName="c2text" presStyleLbl="node1" presStyleIdx="1" presStyleCnt="7">
        <dgm:presLayoutVars>
          <dgm:bulletEnabled val="1"/>
        </dgm:presLayoutVars>
      </dgm:prSet>
      <dgm:spPr/>
    </dgm:pt>
    <dgm:pt modelId="{4743F439-5F6F-4D9F-84F1-D5073886A489}" type="pres">
      <dgm:prSet presAssocID="{49C2E16B-9F79-4B9D-8CEE-0C1B1D196F5C}" presName="comp3" presStyleCnt="0"/>
      <dgm:spPr/>
    </dgm:pt>
    <dgm:pt modelId="{54333E51-4159-4DCB-8AE1-A8862FFA3339}" type="pres">
      <dgm:prSet presAssocID="{49C2E16B-9F79-4B9D-8CEE-0C1B1D196F5C}" presName="circle3" presStyleLbl="node1" presStyleIdx="2" presStyleCnt="7"/>
      <dgm:spPr/>
    </dgm:pt>
    <dgm:pt modelId="{3D6D8375-420B-42CE-BA6A-E59FDF802843}" type="pres">
      <dgm:prSet presAssocID="{49C2E16B-9F79-4B9D-8CEE-0C1B1D196F5C}" presName="c3text" presStyleLbl="node1" presStyleIdx="2" presStyleCnt="7">
        <dgm:presLayoutVars>
          <dgm:bulletEnabled val="1"/>
        </dgm:presLayoutVars>
      </dgm:prSet>
      <dgm:spPr/>
    </dgm:pt>
    <dgm:pt modelId="{539D852D-4237-4D30-9906-B9CE1FFD2DCF}" type="pres">
      <dgm:prSet presAssocID="{49C2E16B-9F79-4B9D-8CEE-0C1B1D196F5C}" presName="comp4" presStyleCnt="0"/>
      <dgm:spPr/>
    </dgm:pt>
    <dgm:pt modelId="{AAFC8CFA-FAE0-4823-A45B-951B828353F2}" type="pres">
      <dgm:prSet presAssocID="{49C2E16B-9F79-4B9D-8CEE-0C1B1D196F5C}" presName="circle4" presStyleLbl="node1" presStyleIdx="3" presStyleCnt="7"/>
      <dgm:spPr/>
    </dgm:pt>
    <dgm:pt modelId="{8C1A2A53-6FB9-4AFF-BCA5-53BB1C69214F}" type="pres">
      <dgm:prSet presAssocID="{49C2E16B-9F79-4B9D-8CEE-0C1B1D196F5C}" presName="c4text" presStyleLbl="node1" presStyleIdx="3" presStyleCnt="7">
        <dgm:presLayoutVars>
          <dgm:bulletEnabled val="1"/>
        </dgm:presLayoutVars>
      </dgm:prSet>
      <dgm:spPr/>
    </dgm:pt>
    <dgm:pt modelId="{ED931C6B-1A3B-4AC8-8E36-44432CE303DE}" type="pres">
      <dgm:prSet presAssocID="{49C2E16B-9F79-4B9D-8CEE-0C1B1D196F5C}" presName="comp5" presStyleCnt="0"/>
      <dgm:spPr/>
    </dgm:pt>
    <dgm:pt modelId="{849C66A6-EBD4-46B1-AD5E-549BC15D8A35}" type="pres">
      <dgm:prSet presAssocID="{49C2E16B-9F79-4B9D-8CEE-0C1B1D196F5C}" presName="circle5" presStyleLbl="node1" presStyleIdx="4" presStyleCnt="7"/>
      <dgm:spPr/>
    </dgm:pt>
    <dgm:pt modelId="{B0F9ADDF-89F8-42A0-B52E-8E52ADF5AA4A}" type="pres">
      <dgm:prSet presAssocID="{49C2E16B-9F79-4B9D-8CEE-0C1B1D196F5C}" presName="c5text" presStyleLbl="node1" presStyleIdx="4" presStyleCnt="7">
        <dgm:presLayoutVars>
          <dgm:bulletEnabled val="1"/>
        </dgm:presLayoutVars>
      </dgm:prSet>
      <dgm:spPr/>
    </dgm:pt>
    <dgm:pt modelId="{4B0B68E4-6E58-42CA-9DA3-73A84D2A317A}" type="pres">
      <dgm:prSet presAssocID="{49C2E16B-9F79-4B9D-8CEE-0C1B1D196F5C}" presName="comp6" presStyleCnt="0"/>
      <dgm:spPr/>
    </dgm:pt>
    <dgm:pt modelId="{B0D49CEF-82A6-4E84-B841-6BC3231A9FB7}" type="pres">
      <dgm:prSet presAssocID="{49C2E16B-9F79-4B9D-8CEE-0C1B1D196F5C}" presName="circle6" presStyleLbl="node1" presStyleIdx="5" presStyleCnt="7"/>
      <dgm:spPr/>
    </dgm:pt>
    <dgm:pt modelId="{CE04DB45-0807-4F9E-824C-D8AFA5D7C9B9}" type="pres">
      <dgm:prSet presAssocID="{49C2E16B-9F79-4B9D-8CEE-0C1B1D196F5C}" presName="c6text" presStyleLbl="node1" presStyleIdx="5" presStyleCnt="7">
        <dgm:presLayoutVars>
          <dgm:bulletEnabled val="1"/>
        </dgm:presLayoutVars>
      </dgm:prSet>
      <dgm:spPr/>
    </dgm:pt>
    <dgm:pt modelId="{0BD8727A-6EAB-4CB5-8C3E-E832AB571015}" type="pres">
      <dgm:prSet presAssocID="{49C2E16B-9F79-4B9D-8CEE-0C1B1D196F5C}" presName="comp7" presStyleCnt="0"/>
      <dgm:spPr/>
    </dgm:pt>
    <dgm:pt modelId="{CDC255F3-989C-45F1-9C32-0C8F414457B3}" type="pres">
      <dgm:prSet presAssocID="{49C2E16B-9F79-4B9D-8CEE-0C1B1D196F5C}" presName="circle7" presStyleLbl="node1" presStyleIdx="6" presStyleCnt="7"/>
      <dgm:spPr/>
    </dgm:pt>
    <dgm:pt modelId="{3B2CA93A-FCC6-467B-A841-A03B9E1D73C7}" type="pres">
      <dgm:prSet presAssocID="{49C2E16B-9F79-4B9D-8CEE-0C1B1D196F5C}" presName="c7text" presStyleLbl="node1" presStyleIdx="6" presStyleCnt="7">
        <dgm:presLayoutVars>
          <dgm:bulletEnabled val="1"/>
        </dgm:presLayoutVars>
      </dgm:prSet>
      <dgm:spPr/>
    </dgm:pt>
  </dgm:ptLst>
  <dgm:cxnLst>
    <dgm:cxn modelId="{B6A39CB7-346A-4064-AA55-BE550584FEF0}" type="presOf" srcId="{25F700F9-5BDC-459D-BDF3-DD7503CC23B9}" destId="{3B2CA93A-FCC6-467B-A841-A03B9E1D73C7}" srcOrd="1" destOrd="0" presId="urn:microsoft.com/office/officeart/2005/8/layout/venn2"/>
    <dgm:cxn modelId="{8AC16D2F-D53C-4679-9095-2FA13EEFC5B7}" type="presOf" srcId="{25F700F9-5BDC-459D-BDF3-DD7503CC23B9}" destId="{CDC255F3-989C-45F1-9C32-0C8F414457B3}" srcOrd="0" destOrd="0" presId="urn:microsoft.com/office/officeart/2005/8/layout/venn2"/>
    <dgm:cxn modelId="{021AB460-E86D-4ECA-8501-93B457BC4A57}" type="presOf" srcId="{5FC5BF60-620D-4561-BCBE-271BE70672F7}" destId="{849C66A6-EBD4-46B1-AD5E-549BC15D8A35}" srcOrd="0" destOrd="0" presId="urn:microsoft.com/office/officeart/2005/8/layout/venn2"/>
    <dgm:cxn modelId="{ACC19A55-886D-437C-9BD5-8CCD4960EC86}" type="presOf" srcId="{C084010D-C474-4011-9F0F-607BFD73E5EC}" destId="{EA4A3545-560B-4AAD-AA9A-53B1A7744B7A}" srcOrd="1" destOrd="0" presId="urn:microsoft.com/office/officeart/2005/8/layout/venn2"/>
    <dgm:cxn modelId="{183C80E9-F68C-4F21-858B-53301C375A18}" srcId="{49C2E16B-9F79-4B9D-8CEE-0C1B1D196F5C}" destId="{D71221AE-95AA-4E3C-8DC0-2D6121615EB8}" srcOrd="1" destOrd="0" parTransId="{5A12E2A4-1B11-4A4E-8E24-ED53CAA3FC55}" sibTransId="{44086A72-F2BD-4CA6-B810-42EC9AD316A6}"/>
    <dgm:cxn modelId="{01A59D70-48D2-4B41-9BC0-6F745F4FBD0F}" type="presOf" srcId="{37D8113A-660B-43D0-8C06-79A838C7653D}" destId="{CE04DB45-0807-4F9E-824C-D8AFA5D7C9B9}" srcOrd="1" destOrd="0" presId="urn:microsoft.com/office/officeart/2005/8/layout/venn2"/>
    <dgm:cxn modelId="{0FB96CA1-F060-498D-9AC7-1F13B7D9E912}" srcId="{49C2E16B-9F79-4B9D-8CEE-0C1B1D196F5C}" destId="{C084010D-C474-4011-9F0F-607BFD73E5EC}" srcOrd="0" destOrd="0" parTransId="{B93C712A-A79F-439B-965D-8FD40B8EFAFB}" sibTransId="{C37C5C39-13A0-4B8B-A2C2-E94AC19359A0}"/>
    <dgm:cxn modelId="{456D30FE-4DEC-4AAD-9519-0461F0DA4016}" type="presOf" srcId="{D71221AE-95AA-4E3C-8DC0-2D6121615EB8}" destId="{57007697-18E7-4A6F-AB61-95072F3F38E5}" srcOrd="0" destOrd="0" presId="urn:microsoft.com/office/officeart/2005/8/layout/venn2"/>
    <dgm:cxn modelId="{1CB69D68-C1CF-4E44-8F8D-5AA0F40FEA46}" srcId="{49C2E16B-9F79-4B9D-8CEE-0C1B1D196F5C}" destId="{E338D848-50C7-4EF6-9ADB-EF8A6D4C4FFD}" srcOrd="2" destOrd="0" parTransId="{8CA56924-DD67-47BF-8B1E-F4676CD67A09}" sibTransId="{AD3919BF-3AC7-429D-B14B-31D6FB5C812A}"/>
    <dgm:cxn modelId="{086AD5AC-9546-4527-BCFD-6F5E5642FA6C}" type="presOf" srcId="{37D8113A-660B-43D0-8C06-79A838C7653D}" destId="{B0D49CEF-82A6-4E84-B841-6BC3231A9FB7}" srcOrd="0" destOrd="0" presId="urn:microsoft.com/office/officeart/2005/8/layout/venn2"/>
    <dgm:cxn modelId="{BB823673-9375-42E0-AF04-FA05A8B3AAAA}" type="presOf" srcId="{49C2E16B-9F79-4B9D-8CEE-0C1B1D196F5C}" destId="{E9E1CE3A-0646-4C2E-994A-37D67D17F3C9}" srcOrd="0" destOrd="0" presId="urn:microsoft.com/office/officeart/2005/8/layout/venn2"/>
    <dgm:cxn modelId="{F91E8217-286F-40F6-A4FE-3802F969C237}" type="presOf" srcId="{5AF04C22-82D8-446C-B3FF-471E451ECE93}" destId="{8C1A2A53-6FB9-4AFF-BCA5-53BB1C69214F}" srcOrd="1" destOrd="0" presId="urn:microsoft.com/office/officeart/2005/8/layout/venn2"/>
    <dgm:cxn modelId="{2DDF1184-1E19-4124-9DFC-ECBC157027DB}" type="presOf" srcId="{E338D848-50C7-4EF6-9ADB-EF8A6D4C4FFD}" destId="{3D6D8375-420B-42CE-BA6A-E59FDF802843}" srcOrd="1" destOrd="0" presId="urn:microsoft.com/office/officeart/2005/8/layout/venn2"/>
    <dgm:cxn modelId="{14472099-F3C7-40A5-8838-AF4B6CA3DB00}" type="presOf" srcId="{5FC5BF60-620D-4561-BCBE-271BE70672F7}" destId="{B0F9ADDF-89F8-42A0-B52E-8E52ADF5AA4A}" srcOrd="1" destOrd="0" presId="urn:microsoft.com/office/officeart/2005/8/layout/venn2"/>
    <dgm:cxn modelId="{C88A8002-BF9D-4CB3-A764-B8652A0CF1DB}" type="presOf" srcId="{5AF04C22-82D8-446C-B3FF-471E451ECE93}" destId="{AAFC8CFA-FAE0-4823-A45B-951B828353F2}" srcOrd="0" destOrd="0" presId="urn:microsoft.com/office/officeart/2005/8/layout/venn2"/>
    <dgm:cxn modelId="{F76F23DF-3477-4C56-8460-CE108C3EAAC0}" srcId="{49C2E16B-9F79-4B9D-8CEE-0C1B1D196F5C}" destId="{37D8113A-660B-43D0-8C06-79A838C7653D}" srcOrd="5" destOrd="0" parTransId="{888E87A8-A139-4080-88EA-167FF422627F}" sibTransId="{3E82C5CF-600B-4C62-9465-3AC3B41DC3F6}"/>
    <dgm:cxn modelId="{82BCD571-B31D-42E8-986D-87B75B190FE2}" type="presOf" srcId="{D71221AE-95AA-4E3C-8DC0-2D6121615EB8}" destId="{03C31066-7574-4837-80A8-0C8F7A2CBBF8}" srcOrd="1" destOrd="0" presId="urn:microsoft.com/office/officeart/2005/8/layout/venn2"/>
    <dgm:cxn modelId="{E668E2A0-7219-4D7C-BC1D-52773BE01577}" srcId="{49C2E16B-9F79-4B9D-8CEE-0C1B1D196F5C}" destId="{5AF04C22-82D8-446C-B3FF-471E451ECE93}" srcOrd="3" destOrd="0" parTransId="{5E98D8DD-4710-4D12-9BF1-6FD6BB2F0DB0}" sibTransId="{AEC127D9-0001-4B54-B802-08D11299324C}"/>
    <dgm:cxn modelId="{00A723E4-8F52-47DF-AEE9-C75A7A2A63CD}" srcId="{49C2E16B-9F79-4B9D-8CEE-0C1B1D196F5C}" destId="{25F700F9-5BDC-459D-BDF3-DD7503CC23B9}" srcOrd="6" destOrd="0" parTransId="{9B32DE3D-5CDC-49C8-9395-938D3338BD24}" sibTransId="{3CB0FAA0-0537-4CA7-A0ED-1EA08FBC285F}"/>
    <dgm:cxn modelId="{9B2EAFE0-4B8F-4BAA-8091-57D80BFE040B}" srcId="{49C2E16B-9F79-4B9D-8CEE-0C1B1D196F5C}" destId="{5FC5BF60-620D-4561-BCBE-271BE70672F7}" srcOrd="4" destOrd="0" parTransId="{5762BA79-EE31-429D-93A0-0A175CC8015D}" sibTransId="{5768D202-BBF2-47CF-94D2-F45D35E0FC74}"/>
    <dgm:cxn modelId="{E29CEA71-9BD1-46B7-9E69-294CCD238CFE}" type="presOf" srcId="{E338D848-50C7-4EF6-9ADB-EF8A6D4C4FFD}" destId="{54333E51-4159-4DCB-8AE1-A8862FFA3339}" srcOrd="0" destOrd="0" presId="urn:microsoft.com/office/officeart/2005/8/layout/venn2"/>
    <dgm:cxn modelId="{D178C0C4-CFE9-40E1-955F-7796E31F32D7}" type="presOf" srcId="{C084010D-C474-4011-9F0F-607BFD73E5EC}" destId="{6E1548B1-11C3-45A3-BC94-DCACCF1C0701}" srcOrd="0" destOrd="0" presId="urn:microsoft.com/office/officeart/2005/8/layout/venn2"/>
    <dgm:cxn modelId="{B373C3BE-53E7-4F49-B688-C713DDE8EE21}" type="presParOf" srcId="{E9E1CE3A-0646-4C2E-994A-37D67D17F3C9}" destId="{E8A31AE0-7B04-4B00-94C3-46524ED526A0}" srcOrd="0" destOrd="0" presId="urn:microsoft.com/office/officeart/2005/8/layout/venn2"/>
    <dgm:cxn modelId="{23A9EB79-71C7-43FB-99C1-1EFEA2F974F8}" type="presParOf" srcId="{E8A31AE0-7B04-4B00-94C3-46524ED526A0}" destId="{6E1548B1-11C3-45A3-BC94-DCACCF1C0701}" srcOrd="0" destOrd="0" presId="urn:microsoft.com/office/officeart/2005/8/layout/venn2"/>
    <dgm:cxn modelId="{417236E4-CA84-4CDD-BE9E-A837D2769ED0}" type="presParOf" srcId="{E8A31AE0-7B04-4B00-94C3-46524ED526A0}" destId="{EA4A3545-560B-4AAD-AA9A-53B1A7744B7A}" srcOrd="1" destOrd="0" presId="urn:microsoft.com/office/officeart/2005/8/layout/venn2"/>
    <dgm:cxn modelId="{461E7487-A5C6-4832-B8CC-BE51CAB2ED90}" type="presParOf" srcId="{E9E1CE3A-0646-4C2E-994A-37D67D17F3C9}" destId="{EFFF1BB7-85C7-40B5-AEB5-1E8AA3BB5728}" srcOrd="1" destOrd="0" presId="urn:microsoft.com/office/officeart/2005/8/layout/venn2"/>
    <dgm:cxn modelId="{50421FBA-3A03-432D-84B2-C77E5123AA40}" type="presParOf" srcId="{EFFF1BB7-85C7-40B5-AEB5-1E8AA3BB5728}" destId="{57007697-18E7-4A6F-AB61-95072F3F38E5}" srcOrd="0" destOrd="0" presId="urn:microsoft.com/office/officeart/2005/8/layout/venn2"/>
    <dgm:cxn modelId="{0AB8B404-75B3-4043-8250-7B88AB1C6494}" type="presParOf" srcId="{EFFF1BB7-85C7-40B5-AEB5-1E8AA3BB5728}" destId="{03C31066-7574-4837-80A8-0C8F7A2CBBF8}" srcOrd="1" destOrd="0" presId="urn:microsoft.com/office/officeart/2005/8/layout/venn2"/>
    <dgm:cxn modelId="{29C55FBB-48D9-489E-97A3-AE00983059AB}" type="presParOf" srcId="{E9E1CE3A-0646-4C2E-994A-37D67D17F3C9}" destId="{4743F439-5F6F-4D9F-84F1-D5073886A489}" srcOrd="2" destOrd="0" presId="urn:microsoft.com/office/officeart/2005/8/layout/venn2"/>
    <dgm:cxn modelId="{EFA1BEE9-9187-42E6-8433-26E225C3E27C}" type="presParOf" srcId="{4743F439-5F6F-4D9F-84F1-D5073886A489}" destId="{54333E51-4159-4DCB-8AE1-A8862FFA3339}" srcOrd="0" destOrd="0" presId="urn:microsoft.com/office/officeart/2005/8/layout/venn2"/>
    <dgm:cxn modelId="{E05E6ACA-D63E-4E9F-B6C4-FB352362437D}" type="presParOf" srcId="{4743F439-5F6F-4D9F-84F1-D5073886A489}" destId="{3D6D8375-420B-42CE-BA6A-E59FDF802843}" srcOrd="1" destOrd="0" presId="urn:microsoft.com/office/officeart/2005/8/layout/venn2"/>
    <dgm:cxn modelId="{7691667E-B83C-47BC-BF30-089109FCAE22}" type="presParOf" srcId="{E9E1CE3A-0646-4C2E-994A-37D67D17F3C9}" destId="{539D852D-4237-4D30-9906-B9CE1FFD2DCF}" srcOrd="3" destOrd="0" presId="urn:microsoft.com/office/officeart/2005/8/layout/venn2"/>
    <dgm:cxn modelId="{D0249DE7-6576-47E5-8B32-AEB3FD3A2976}" type="presParOf" srcId="{539D852D-4237-4D30-9906-B9CE1FFD2DCF}" destId="{AAFC8CFA-FAE0-4823-A45B-951B828353F2}" srcOrd="0" destOrd="0" presId="urn:microsoft.com/office/officeart/2005/8/layout/venn2"/>
    <dgm:cxn modelId="{EC8ADE63-FCE9-43BF-A18E-DC04E5473AA7}" type="presParOf" srcId="{539D852D-4237-4D30-9906-B9CE1FFD2DCF}" destId="{8C1A2A53-6FB9-4AFF-BCA5-53BB1C69214F}" srcOrd="1" destOrd="0" presId="urn:microsoft.com/office/officeart/2005/8/layout/venn2"/>
    <dgm:cxn modelId="{BEFAC3CD-A791-4DAA-B1EF-AA3AA556B5C7}" type="presParOf" srcId="{E9E1CE3A-0646-4C2E-994A-37D67D17F3C9}" destId="{ED931C6B-1A3B-4AC8-8E36-44432CE303DE}" srcOrd="4" destOrd="0" presId="urn:microsoft.com/office/officeart/2005/8/layout/venn2"/>
    <dgm:cxn modelId="{989DDED3-7ED9-4B53-AA49-5007AA462453}" type="presParOf" srcId="{ED931C6B-1A3B-4AC8-8E36-44432CE303DE}" destId="{849C66A6-EBD4-46B1-AD5E-549BC15D8A35}" srcOrd="0" destOrd="0" presId="urn:microsoft.com/office/officeart/2005/8/layout/venn2"/>
    <dgm:cxn modelId="{E150BBD5-513B-455B-BE49-FA8184D6EE8C}" type="presParOf" srcId="{ED931C6B-1A3B-4AC8-8E36-44432CE303DE}" destId="{B0F9ADDF-89F8-42A0-B52E-8E52ADF5AA4A}" srcOrd="1" destOrd="0" presId="urn:microsoft.com/office/officeart/2005/8/layout/venn2"/>
    <dgm:cxn modelId="{325C74FC-4557-4A8D-BE29-3F7ABFDD10DA}" type="presParOf" srcId="{E9E1CE3A-0646-4C2E-994A-37D67D17F3C9}" destId="{4B0B68E4-6E58-42CA-9DA3-73A84D2A317A}" srcOrd="5" destOrd="0" presId="urn:microsoft.com/office/officeart/2005/8/layout/venn2"/>
    <dgm:cxn modelId="{13A6236C-D206-4B3B-99AA-EB1D029DFE34}" type="presParOf" srcId="{4B0B68E4-6E58-42CA-9DA3-73A84D2A317A}" destId="{B0D49CEF-82A6-4E84-B841-6BC3231A9FB7}" srcOrd="0" destOrd="0" presId="urn:microsoft.com/office/officeart/2005/8/layout/venn2"/>
    <dgm:cxn modelId="{21E15A3A-7A6F-4DFB-9B1E-0A59FEEC37B2}" type="presParOf" srcId="{4B0B68E4-6E58-42CA-9DA3-73A84D2A317A}" destId="{CE04DB45-0807-4F9E-824C-D8AFA5D7C9B9}" srcOrd="1" destOrd="0" presId="urn:microsoft.com/office/officeart/2005/8/layout/venn2"/>
    <dgm:cxn modelId="{7DC5D35D-1EDB-4DB7-994D-81DF52AEF650}" type="presParOf" srcId="{E9E1CE3A-0646-4C2E-994A-37D67D17F3C9}" destId="{0BD8727A-6EAB-4CB5-8C3E-E832AB571015}" srcOrd="6" destOrd="0" presId="urn:microsoft.com/office/officeart/2005/8/layout/venn2"/>
    <dgm:cxn modelId="{6E24AD14-783B-41BF-B77C-4793E4344DFE}" type="presParOf" srcId="{0BD8727A-6EAB-4CB5-8C3E-E832AB571015}" destId="{CDC255F3-989C-45F1-9C32-0C8F414457B3}" srcOrd="0" destOrd="0" presId="urn:microsoft.com/office/officeart/2005/8/layout/venn2"/>
    <dgm:cxn modelId="{2DD09C7C-B10A-490E-BEF9-0942F17A3272}" type="presParOf" srcId="{0BD8727A-6EAB-4CB5-8C3E-E832AB571015}" destId="{3B2CA93A-FCC6-467B-A841-A03B9E1D73C7}" srcOrd="1" destOrd="0" presId="urn:microsoft.com/office/officeart/2005/8/layout/ven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BCEC244-AAFA-42FB-BC2A-9227CA6D1F17}" type="doc">
      <dgm:prSet loTypeId="urn:microsoft.com/office/officeart/2005/8/layout/gear1" loCatId="cycle" qsTypeId="urn:microsoft.com/office/officeart/2005/8/quickstyle/simple1" qsCatId="simple" csTypeId="urn:microsoft.com/office/officeart/2005/8/colors/accent1_2" csCatId="accent1" phldr="1"/>
      <dgm:spPr/>
      <dgm:t>
        <a:bodyPr/>
        <a:lstStyle/>
        <a:p>
          <a:endParaRPr lang="en-US"/>
        </a:p>
      </dgm:t>
    </dgm:pt>
    <dgm:pt modelId="{61EDB48D-5FC9-4A91-8B88-BA5750F5501E}">
      <dgm:prSet/>
      <dgm:spPr>
        <a:solidFill>
          <a:srgbClr val="00B050"/>
        </a:solidFill>
      </dgm:spPr>
      <dgm:t>
        <a:bodyPr/>
        <a:lstStyle/>
        <a:p>
          <a:pPr rtl="0"/>
          <a:r>
            <a:rPr lang="en-US" b="1" dirty="0" smtClean="0"/>
            <a:t>ELB ‘s are not free , you are charged by the hour and on a per basis of usage .</a:t>
          </a:r>
          <a:endParaRPr lang="en-US" dirty="0"/>
        </a:p>
      </dgm:t>
    </dgm:pt>
    <dgm:pt modelId="{86856400-7252-4D28-82E1-757BF43D22D8}" type="parTrans" cxnId="{7D29C917-920F-4005-96E6-31797717B3B4}">
      <dgm:prSet/>
      <dgm:spPr/>
      <dgm:t>
        <a:bodyPr/>
        <a:lstStyle/>
        <a:p>
          <a:endParaRPr lang="en-US"/>
        </a:p>
      </dgm:t>
    </dgm:pt>
    <dgm:pt modelId="{07957AD3-452C-43F7-A1C3-5B05DCD9BE5B}" type="sibTrans" cxnId="{7D29C917-920F-4005-96E6-31797717B3B4}">
      <dgm:prSet/>
      <dgm:spPr/>
      <dgm:t>
        <a:bodyPr/>
        <a:lstStyle/>
        <a:p>
          <a:endParaRPr lang="en-US"/>
        </a:p>
      </dgm:t>
    </dgm:pt>
    <dgm:pt modelId="{7ECB4F7C-EDE1-45A4-ADBF-9449B9354A3D}">
      <dgm:prSet custT="1"/>
      <dgm:spPr>
        <a:solidFill>
          <a:srgbClr val="00B050"/>
        </a:solidFill>
      </dgm:spPr>
      <dgm:t>
        <a:bodyPr/>
        <a:lstStyle/>
        <a:p>
          <a:pPr rtl="0"/>
          <a:r>
            <a:rPr lang="en-US" sz="1500" b="1" dirty="0" smtClean="0"/>
            <a:t>Services which are free include  Cloud Formation , Elastic Beanstalk ,Auto Scaling ,Opsworks </a:t>
          </a:r>
          <a:endParaRPr lang="en-US" sz="1500" dirty="0"/>
        </a:p>
      </dgm:t>
    </dgm:pt>
    <dgm:pt modelId="{A6523CD7-775C-45D0-A8BA-0A1D64E0282F}" type="parTrans" cxnId="{B2D64824-BEB1-4DAD-BFB1-BC985AA9D27A}">
      <dgm:prSet/>
      <dgm:spPr/>
      <dgm:t>
        <a:bodyPr/>
        <a:lstStyle/>
        <a:p>
          <a:endParaRPr lang="en-US"/>
        </a:p>
      </dgm:t>
    </dgm:pt>
    <dgm:pt modelId="{1224159F-888A-4707-9CD8-7AE4AE391092}" type="sibTrans" cxnId="{B2D64824-BEB1-4DAD-BFB1-BC985AA9D27A}">
      <dgm:prSet/>
      <dgm:spPr/>
      <dgm:t>
        <a:bodyPr/>
        <a:lstStyle/>
        <a:p>
          <a:endParaRPr lang="en-US"/>
        </a:p>
      </dgm:t>
    </dgm:pt>
    <dgm:pt modelId="{8D5D0419-7A68-4275-ADC7-F48A65CD8B54}" type="pres">
      <dgm:prSet presAssocID="{4BCEC244-AAFA-42FB-BC2A-9227CA6D1F17}" presName="composite" presStyleCnt="0">
        <dgm:presLayoutVars>
          <dgm:chMax val="3"/>
          <dgm:animLvl val="lvl"/>
          <dgm:resizeHandles val="exact"/>
        </dgm:presLayoutVars>
      </dgm:prSet>
      <dgm:spPr/>
    </dgm:pt>
    <dgm:pt modelId="{D74EBDB9-4C1C-46C4-B9F5-D4705473D158}" type="pres">
      <dgm:prSet presAssocID="{61EDB48D-5FC9-4A91-8B88-BA5750F5501E}" presName="gear1" presStyleLbl="node1" presStyleIdx="0" presStyleCnt="2" custLinFactNeighborX="-2015" custLinFactNeighborY="7051">
        <dgm:presLayoutVars>
          <dgm:chMax val="1"/>
          <dgm:bulletEnabled val="1"/>
        </dgm:presLayoutVars>
      </dgm:prSet>
      <dgm:spPr/>
    </dgm:pt>
    <dgm:pt modelId="{67293F2B-C327-4FB1-9D73-272E2DF76796}" type="pres">
      <dgm:prSet presAssocID="{61EDB48D-5FC9-4A91-8B88-BA5750F5501E}" presName="gear1srcNode" presStyleLbl="node1" presStyleIdx="0" presStyleCnt="2"/>
      <dgm:spPr/>
    </dgm:pt>
    <dgm:pt modelId="{9374E99C-EE37-404D-8B4F-4FD0EE5B3618}" type="pres">
      <dgm:prSet presAssocID="{61EDB48D-5FC9-4A91-8B88-BA5750F5501E}" presName="gear1dstNode" presStyleLbl="node1" presStyleIdx="0" presStyleCnt="2"/>
      <dgm:spPr/>
    </dgm:pt>
    <dgm:pt modelId="{F493A9BE-565A-4372-B4EC-B3EE49ADE92A}" type="pres">
      <dgm:prSet presAssocID="{7ECB4F7C-EDE1-45A4-ADBF-9449B9354A3D}" presName="gear2" presStyleLbl="node1" presStyleIdx="1" presStyleCnt="2" custScaleX="198760" custScaleY="143518" custLinFactNeighborX="-40859" custLinFactNeighborY="-17313">
        <dgm:presLayoutVars>
          <dgm:chMax val="1"/>
          <dgm:bulletEnabled val="1"/>
        </dgm:presLayoutVars>
      </dgm:prSet>
      <dgm:spPr/>
    </dgm:pt>
    <dgm:pt modelId="{2B41F5E5-B8C7-431B-837E-7B7F0F9DC55B}" type="pres">
      <dgm:prSet presAssocID="{7ECB4F7C-EDE1-45A4-ADBF-9449B9354A3D}" presName="gear2srcNode" presStyleLbl="node1" presStyleIdx="1" presStyleCnt="2"/>
      <dgm:spPr/>
    </dgm:pt>
    <dgm:pt modelId="{629C3300-3ACB-48D2-9654-011D5F26A388}" type="pres">
      <dgm:prSet presAssocID="{7ECB4F7C-EDE1-45A4-ADBF-9449B9354A3D}" presName="gear2dstNode" presStyleLbl="node1" presStyleIdx="1" presStyleCnt="2"/>
      <dgm:spPr/>
    </dgm:pt>
    <dgm:pt modelId="{A10F60DE-896A-4878-8ADD-BD8D457E299E}" type="pres">
      <dgm:prSet presAssocID="{07957AD3-452C-43F7-A1C3-5B05DCD9BE5B}" presName="connector1" presStyleLbl="sibTrans2D1" presStyleIdx="0" presStyleCnt="2" custLinFactNeighborX="24568" custLinFactNeighborY="-31530"/>
      <dgm:spPr/>
    </dgm:pt>
    <dgm:pt modelId="{11E2879D-6192-4BC6-8F00-1840CFDF11EF}" type="pres">
      <dgm:prSet presAssocID="{1224159F-888A-4707-9CD8-7AE4AE391092}" presName="connector2" presStyleLbl="sibTrans2D1" presStyleIdx="1" presStyleCnt="2" custLinFactNeighborX="-75819" custLinFactNeighborY="-25453"/>
      <dgm:spPr/>
    </dgm:pt>
  </dgm:ptLst>
  <dgm:cxnLst>
    <dgm:cxn modelId="{B2D64824-BEB1-4DAD-BFB1-BC985AA9D27A}" srcId="{4BCEC244-AAFA-42FB-BC2A-9227CA6D1F17}" destId="{7ECB4F7C-EDE1-45A4-ADBF-9449B9354A3D}" srcOrd="1" destOrd="0" parTransId="{A6523CD7-775C-45D0-A8BA-0A1D64E0282F}" sibTransId="{1224159F-888A-4707-9CD8-7AE4AE391092}"/>
    <dgm:cxn modelId="{8BA7BE76-B2FD-425A-AEBC-F378655F678B}" type="presOf" srcId="{1224159F-888A-4707-9CD8-7AE4AE391092}" destId="{11E2879D-6192-4BC6-8F00-1840CFDF11EF}" srcOrd="0" destOrd="0" presId="urn:microsoft.com/office/officeart/2005/8/layout/gear1"/>
    <dgm:cxn modelId="{32EF1234-CBE8-4782-9A2F-0C03F42E7B1C}" type="presOf" srcId="{7ECB4F7C-EDE1-45A4-ADBF-9449B9354A3D}" destId="{2B41F5E5-B8C7-431B-837E-7B7F0F9DC55B}" srcOrd="1" destOrd="0" presId="urn:microsoft.com/office/officeart/2005/8/layout/gear1"/>
    <dgm:cxn modelId="{506580EA-AE24-429E-AAC5-061A6683BD3A}" type="presOf" srcId="{7ECB4F7C-EDE1-45A4-ADBF-9449B9354A3D}" destId="{629C3300-3ACB-48D2-9654-011D5F26A388}" srcOrd="2" destOrd="0" presId="urn:microsoft.com/office/officeart/2005/8/layout/gear1"/>
    <dgm:cxn modelId="{C36F78E2-C2E4-486A-B9FD-E5ACE4F8D064}" type="presOf" srcId="{7ECB4F7C-EDE1-45A4-ADBF-9449B9354A3D}" destId="{F493A9BE-565A-4372-B4EC-B3EE49ADE92A}" srcOrd="0" destOrd="0" presId="urn:microsoft.com/office/officeart/2005/8/layout/gear1"/>
    <dgm:cxn modelId="{104C35C9-94AD-4290-A9AB-07EA7FBA167B}" type="presOf" srcId="{61EDB48D-5FC9-4A91-8B88-BA5750F5501E}" destId="{D74EBDB9-4C1C-46C4-B9F5-D4705473D158}" srcOrd="0" destOrd="0" presId="urn:microsoft.com/office/officeart/2005/8/layout/gear1"/>
    <dgm:cxn modelId="{DCFCA9DE-7C5E-409F-B66E-052366AB157C}" type="presOf" srcId="{61EDB48D-5FC9-4A91-8B88-BA5750F5501E}" destId="{9374E99C-EE37-404D-8B4F-4FD0EE5B3618}" srcOrd="2" destOrd="0" presId="urn:microsoft.com/office/officeart/2005/8/layout/gear1"/>
    <dgm:cxn modelId="{87582621-610E-4D67-A422-F511E2F1EE75}" type="presOf" srcId="{61EDB48D-5FC9-4A91-8B88-BA5750F5501E}" destId="{67293F2B-C327-4FB1-9D73-272E2DF76796}" srcOrd="1" destOrd="0" presId="urn:microsoft.com/office/officeart/2005/8/layout/gear1"/>
    <dgm:cxn modelId="{7D29C917-920F-4005-96E6-31797717B3B4}" srcId="{4BCEC244-AAFA-42FB-BC2A-9227CA6D1F17}" destId="{61EDB48D-5FC9-4A91-8B88-BA5750F5501E}" srcOrd="0" destOrd="0" parTransId="{86856400-7252-4D28-82E1-757BF43D22D8}" sibTransId="{07957AD3-452C-43F7-A1C3-5B05DCD9BE5B}"/>
    <dgm:cxn modelId="{CCF1B54E-D2E4-4469-915C-1D905A65501C}" type="presOf" srcId="{4BCEC244-AAFA-42FB-BC2A-9227CA6D1F17}" destId="{8D5D0419-7A68-4275-ADC7-F48A65CD8B54}" srcOrd="0" destOrd="0" presId="urn:microsoft.com/office/officeart/2005/8/layout/gear1"/>
    <dgm:cxn modelId="{60C4D83A-B1FE-4D83-99D0-024D12F9136C}" type="presOf" srcId="{07957AD3-452C-43F7-A1C3-5B05DCD9BE5B}" destId="{A10F60DE-896A-4878-8ADD-BD8D457E299E}" srcOrd="0" destOrd="0" presId="urn:microsoft.com/office/officeart/2005/8/layout/gear1"/>
    <dgm:cxn modelId="{C4A80EC7-9E5F-4855-A09B-8FEDB7A06579}" type="presParOf" srcId="{8D5D0419-7A68-4275-ADC7-F48A65CD8B54}" destId="{D74EBDB9-4C1C-46C4-B9F5-D4705473D158}" srcOrd="0" destOrd="0" presId="urn:microsoft.com/office/officeart/2005/8/layout/gear1"/>
    <dgm:cxn modelId="{30FF036E-D852-4E9A-B87B-29039A640316}" type="presParOf" srcId="{8D5D0419-7A68-4275-ADC7-F48A65CD8B54}" destId="{67293F2B-C327-4FB1-9D73-272E2DF76796}" srcOrd="1" destOrd="0" presId="urn:microsoft.com/office/officeart/2005/8/layout/gear1"/>
    <dgm:cxn modelId="{565957CD-45DE-4ED7-948E-6F6294D14AEC}" type="presParOf" srcId="{8D5D0419-7A68-4275-ADC7-F48A65CD8B54}" destId="{9374E99C-EE37-404D-8B4F-4FD0EE5B3618}" srcOrd="2" destOrd="0" presId="urn:microsoft.com/office/officeart/2005/8/layout/gear1"/>
    <dgm:cxn modelId="{AB158CAD-5217-432C-BE9D-4B8DF4ECCF4C}" type="presParOf" srcId="{8D5D0419-7A68-4275-ADC7-F48A65CD8B54}" destId="{F493A9BE-565A-4372-B4EC-B3EE49ADE92A}" srcOrd="3" destOrd="0" presId="urn:microsoft.com/office/officeart/2005/8/layout/gear1"/>
    <dgm:cxn modelId="{4CBB460F-F25F-4544-B73B-4BB8C52DDA9C}" type="presParOf" srcId="{8D5D0419-7A68-4275-ADC7-F48A65CD8B54}" destId="{2B41F5E5-B8C7-431B-837E-7B7F0F9DC55B}" srcOrd="4" destOrd="0" presId="urn:microsoft.com/office/officeart/2005/8/layout/gear1"/>
    <dgm:cxn modelId="{6AA2342B-2B76-41DA-B6DD-8FE4ED710CBD}" type="presParOf" srcId="{8D5D0419-7A68-4275-ADC7-F48A65CD8B54}" destId="{629C3300-3ACB-48D2-9654-011D5F26A388}" srcOrd="5" destOrd="0" presId="urn:microsoft.com/office/officeart/2005/8/layout/gear1"/>
    <dgm:cxn modelId="{C6F423D3-5744-4FBF-9F38-43F9E98B0A08}" type="presParOf" srcId="{8D5D0419-7A68-4275-ADC7-F48A65CD8B54}" destId="{A10F60DE-896A-4878-8ADD-BD8D457E299E}" srcOrd="6" destOrd="0" presId="urn:microsoft.com/office/officeart/2005/8/layout/gear1"/>
    <dgm:cxn modelId="{222F6D61-0F7E-49A2-808C-012B6B9EB83C}" type="presParOf" srcId="{8D5D0419-7A68-4275-ADC7-F48A65CD8B54}" destId="{11E2879D-6192-4BC6-8F00-1840CFDF11EF}" srcOrd="7" destOrd="0" presId="urn:microsoft.com/office/officeart/2005/8/layout/gear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CA50B3-5256-4E9D-A460-F6089298AB7D}" type="doc">
      <dgm:prSet loTypeId="urn:microsoft.com/office/officeart/2005/8/layout/hProcess9" loCatId="process" qsTypeId="urn:microsoft.com/office/officeart/2005/8/quickstyle/simple1" qsCatId="simple" csTypeId="urn:microsoft.com/office/officeart/2005/8/colors/colorful5" csCatId="colorful"/>
      <dgm:spPr/>
      <dgm:t>
        <a:bodyPr/>
        <a:lstStyle/>
        <a:p>
          <a:endParaRPr lang="en-US"/>
        </a:p>
      </dgm:t>
    </dgm:pt>
    <dgm:pt modelId="{0D3F8330-56F9-456F-998D-47A248A0D4C8}">
      <dgm:prSet/>
      <dgm:spPr/>
      <dgm:t>
        <a:bodyPr/>
        <a:lstStyle/>
        <a:p>
          <a:pPr rtl="0"/>
          <a:r>
            <a:rPr lang="en-US" b="1" dirty="0" smtClean="0"/>
            <a:t>Android ,iOS , JavaScript (Browser)</a:t>
          </a:r>
          <a:endParaRPr lang="en-US" dirty="0"/>
        </a:p>
      </dgm:t>
    </dgm:pt>
    <dgm:pt modelId="{EF116802-4427-439A-869C-EFA6FEF82AC5}" type="parTrans" cxnId="{133E05F3-92F1-4B33-BEAF-87708557373F}">
      <dgm:prSet/>
      <dgm:spPr/>
      <dgm:t>
        <a:bodyPr/>
        <a:lstStyle/>
        <a:p>
          <a:endParaRPr lang="en-US"/>
        </a:p>
      </dgm:t>
    </dgm:pt>
    <dgm:pt modelId="{23406891-45B6-46D2-9B97-F50E6968D625}" type="sibTrans" cxnId="{133E05F3-92F1-4B33-BEAF-87708557373F}">
      <dgm:prSet/>
      <dgm:spPr/>
      <dgm:t>
        <a:bodyPr/>
        <a:lstStyle/>
        <a:p>
          <a:endParaRPr lang="en-US"/>
        </a:p>
      </dgm:t>
    </dgm:pt>
    <dgm:pt modelId="{E50F1BAD-52FB-4E44-9508-D3DAB508CAA3}">
      <dgm:prSet/>
      <dgm:spPr/>
      <dgm:t>
        <a:bodyPr/>
        <a:lstStyle/>
        <a:p>
          <a:pPr rtl="0"/>
          <a:r>
            <a:rPr lang="en-US" b="1" dirty="0" smtClean="0"/>
            <a:t>Java</a:t>
          </a:r>
          <a:endParaRPr lang="en-US" dirty="0"/>
        </a:p>
      </dgm:t>
    </dgm:pt>
    <dgm:pt modelId="{59BBF665-22EE-45F4-B246-805D713BB2D8}" type="parTrans" cxnId="{4D2890B2-96EA-45E4-A7BC-A61D5A5C8288}">
      <dgm:prSet/>
      <dgm:spPr/>
      <dgm:t>
        <a:bodyPr/>
        <a:lstStyle/>
        <a:p>
          <a:endParaRPr lang="en-US"/>
        </a:p>
      </dgm:t>
    </dgm:pt>
    <dgm:pt modelId="{6438AEF6-23CB-40EB-AD3E-44E3F17680F2}" type="sibTrans" cxnId="{4D2890B2-96EA-45E4-A7BC-A61D5A5C8288}">
      <dgm:prSet/>
      <dgm:spPr/>
      <dgm:t>
        <a:bodyPr/>
        <a:lstStyle/>
        <a:p>
          <a:endParaRPr lang="en-US"/>
        </a:p>
      </dgm:t>
    </dgm:pt>
    <dgm:pt modelId="{92C1F91D-B169-4BEB-9D5B-742E98F41DB7}">
      <dgm:prSet/>
      <dgm:spPr/>
      <dgm:t>
        <a:bodyPr/>
        <a:lstStyle/>
        <a:p>
          <a:pPr rtl="0"/>
          <a:r>
            <a:rPr lang="en-US" b="1" dirty="0" err="1" smtClean="0"/>
            <a:t>.Net</a:t>
          </a:r>
          <a:endParaRPr lang="en-US" dirty="0"/>
        </a:p>
      </dgm:t>
    </dgm:pt>
    <dgm:pt modelId="{1632C978-F846-45CF-842E-43A7ECAD81B0}" type="parTrans" cxnId="{5395292E-6FBA-494E-84A4-97430DC4C2EC}">
      <dgm:prSet/>
      <dgm:spPr/>
      <dgm:t>
        <a:bodyPr/>
        <a:lstStyle/>
        <a:p>
          <a:endParaRPr lang="en-US"/>
        </a:p>
      </dgm:t>
    </dgm:pt>
    <dgm:pt modelId="{6147DE63-D378-4538-8EC0-E5762E74CD72}" type="sibTrans" cxnId="{5395292E-6FBA-494E-84A4-97430DC4C2EC}">
      <dgm:prSet/>
      <dgm:spPr/>
      <dgm:t>
        <a:bodyPr/>
        <a:lstStyle/>
        <a:p>
          <a:endParaRPr lang="en-US"/>
        </a:p>
      </dgm:t>
    </dgm:pt>
    <dgm:pt modelId="{F8CC183E-693B-4688-98BC-6CB44BDE9CAE}">
      <dgm:prSet/>
      <dgm:spPr/>
      <dgm:t>
        <a:bodyPr/>
        <a:lstStyle/>
        <a:p>
          <a:pPr rtl="0"/>
          <a:r>
            <a:rPr lang="en-US" b="1" dirty="0" smtClean="0"/>
            <a:t>Node.js</a:t>
          </a:r>
          <a:endParaRPr lang="en-US" dirty="0"/>
        </a:p>
      </dgm:t>
    </dgm:pt>
    <dgm:pt modelId="{96A2AE76-E2BE-4378-A714-B343350A5265}" type="parTrans" cxnId="{15D2C075-0A42-4783-B7D2-BA9E6201D8D7}">
      <dgm:prSet/>
      <dgm:spPr/>
      <dgm:t>
        <a:bodyPr/>
        <a:lstStyle/>
        <a:p>
          <a:endParaRPr lang="en-US"/>
        </a:p>
      </dgm:t>
    </dgm:pt>
    <dgm:pt modelId="{79C70170-38CC-4F3B-9466-EB03A929262A}" type="sibTrans" cxnId="{15D2C075-0A42-4783-B7D2-BA9E6201D8D7}">
      <dgm:prSet/>
      <dgm:spPr/>
      <dgm:t>
        <a:bodyPr/>
        <a:lstStyle/>
        <a:p>
          <a:endParaRPr lang="en-US"/>
        </a:p>
      </dgm:t>
    </dgm:pt>
    <dgm:pt modelId="{DB13E5FC-075C-4AED-8B92-8882C06A203D}">
      <dgm:prSet/>
      <dgm:spPr/>
      <dgm:t>
        <a:bodyPr/>
        <a:lstStyle/>
        <a:p>
          <a:pPr rtl="0"/>
          <a:r>
            <a:rPr lang="en-US" b="1" dirty="0" smtClean="0"/>
            <a:t>PHP</a:t>
          </a:r>
          <a:endParaRPr lang="en-US" dirty="0"/>
        </a:p>
      </dgm:t>
    </dgm:pt>
    <dgm:pt modelId="{A138E63B-5D24-40BA-8DE2-BE49A96E395B}" type="parTrans" cxnId="{3036AD1A-8523-47F8-9B98-585EAD474006}">
      <dgm:prSet/>
      <dgm:spPr/>
      <dgm:t>
        <a:bodyPr/>
        <a:lstStyle/>
        <a:p>
          <a:endParaRPr lang="en-US"/>
        </a:p>
      </dgm:t>
    </dgm:pt>
    <dgm:pt modelId="{40406DE6-2BA2-4FBF-A7DC-AC8582E2D776}" type="sibTrans" cxnId="{3036AD1A-8523-47F8-9B98-585EAD474006}">
      <dgm:prSet/>
      <dgm:spPr/>
      <dgm:t>
        <a:bodyPr/>
        <a:lstStyle/>
        <a:p>
          <a:endParaRPr lang="en-US"/>
        </a:p>
      </dgm:t>
    </dgm:pt>
    <dgm:pt modelId="{A8B8B93B-C549-40C4-A10A-628DA8276666}">
      <dgm:prSet/>
      <dgm:spPr/>
      <dgm:t>
        <a:bodyPr/>
        <a:lstStyle/>
        <a:p>
          <a:pPr rtl="0"/>
          <a:r>
            <a:rPr lang="en-US" b="1" dirty="0" smtClean="0"/>
            <a:t>Python</a:t>
          </a:r>
          <a:endParaRPr lang="en-US" dirty="0"/>
        </a:p>
      </dgm:t>
    </dgm:pt>
    <dgm:pt modelId="{73FE6F1D-3FC4-4E31-9679-38976E099C0F}" type="parTrans" cxnId="{7AA77612-5055-4707-BD58-A5BAF5B762FA}">
      <dgm:prSet/>
      <dgm:spPr/>
      <dgm:t>
        <a:bodyPr/>
        <a:lstStyle/>
        <a:p>
          <a:endParaRPr lang="en-US"/>
        </a:p>
      </dgm:t>
    </dgm:pt>
    <dgm:pt modelId="{1EFE7F49-BD27-4E5C-85D6-69B180BD45D6}" type="sibTrans" cxnId="{7AA77612-5055-4707-BD58-A5BAF5B762FA}">
      <dgm:prSet/>
      <dgm:spPr/>
      <dgm:t>
        <a:bodyPr/>
        <a:lstStyle/>
        <a:p>
          <a:endParaRPr lang="en-US"/>
        </a:p>
      </dgm:t>
    </dgm:pt>
    <dgm:pt modelId="{E7DFFAB2-626A-4DA5-891D-88CF56F2BD45}">
      <dgm:prSet/>
      <dgm:spPr/>
      <dgm:t>
        <a:bodyPr/>
        <a:lstStyle/>
        <a:p>
          <a:pPr rtl="0"/>
          <a:r>
            <a:rPr lang="en-US" b="1" dirty="0" smtClean="0"/>
            <a:t>Ruby</a:t>
          </a:r>
          <a:endParaRPr lang="en-US" dirty="0"/>
        </a:p>
      </dgm:t>
    </dgm:pt>
    <dgm:pt modelId="{CEAE10EA-8B21-41E4-A6F5-BE1635DAADCB}" type="parTrans" cxnId="{27328C1A-2855-404C-9C79-CBF5133CCE52}">
      <dgm:prSet/>
      <dgm:spPr/>
      <dgm:t>
        <a:bodyPr/>
        <a:lstStyle/>
        <a:p>
          <a:endParaRPr lang="en-US"/>
        </a:p>
      </dgm:t>
    </dgm:pt>
    <dgm:pt modelId="{FB27F329-A020-482C-9C97-E5CF44820975}" type="sibTrans" cxnId="{27328C1A-2855-404C-9C79-CBF5133CCE52}">
      <dgm:prSet/>
      <dgm:spPr/>
      <dgm:t>
        <a:bodyPr/>
        <a:lstStyle/>
        <a:p>
          <a:endParaRPr lang="en-US"/>
        </a:p>
      </dgm:t>
    </dgm:pt>
    <dgm:pt modelId="{5A4CB40D-7BC2-4F26-8E8F-1A3A031B198C}">
      <dgm:prSet/>
      <dgm:spPr/>
      <dgm:t>
        <a:bodyPr/>
        <a:lstStyle/>
        <a:p>
          <a:pPr rtl="0"/>
          <a:r>
            <a:rPr lang="en-US" b="1" dirty="0" smtClean="0"/>
            <a:t>Go</a:t>
          </a:r>
          <a:endParaRPr lang="en-US" dirty="0"/>
        </a:p>
      </dgm:t>
    </dgm:pt>
    <dgm:pt modelId="{7021F4FB-9A80-46AC-BB8C-6A91F111C8EA}" type="parTrans" cxnId="{085AAC55-1544-4F43-BBFD-BA5889715CE1}">
      <dgm:prSet/>
      <dgm:spPr/>
      <dgm:t>
        <a:bodyPr/>
        <a:lstStyle/>
        <a:p>
          <a:endParaRPr lang="en-US"/>
        </a:p>
      </dgm:t>
    </dgm:pt>
    <dgm:pt modelId="{29BAE8DF-392A-4656-A960-0A52F9AF0E89}" type="sibTrans" cxnId="{085AAC55-1544-4F43-BBFD-BA5889715CE1}">
      <dgm:prSet/>
      <dgm:spPr/>
      <dgm:t>
        <a:bodyPr/>
        <a:lstStyle/>
        <a:p>
          <a:endParaRPr lang="en-US"/>
        </a:p>
      </dgm:t>
    </dgm:pt>
    <dgm:pt modelId="{292FBE66-4626-4BFC-B965-E850236373BB}">
      <dgm:prSet/>
      <dgm:spPr/>
      <dgm:t>
        <a:bodyPr/>
        <a:lstStyle/>
        <a:p>
          <a:pPr rtl="0"/>
          <a:r>
            <a:rPr lang="en-US" b="1" dirty="0" smtClean="0"/>
            <a:t>C++</a:t>
          </a:r>
          <a:endParaRPr lang="en-US" b="1" dirty="0"/>
        </a:p>
      </dgm:t>
    </dgm:pt>
    <dgm:pt modelId="{FF277CF1-AAB3-4554-969A-5D4ED8DC867D}" type="parTrans" cxnId="{4F01D243-28C7-42C8-B0AF-A25A828784F5}">
      <dgm:prSet/>
      <dgm:spPr/>
      <dgm:t>
        <a:bodyPr/>
        <a:lstStyle/>
        <a:p>
          <a:endParaRPr lang="en-US"/>
        </a:p>
      </dgm:t>
    </dgm:pt>
    <dgm:pt modelId="{A881477F-0661-42AC-9E08-09191EE5EA6C}" type="sibTrans" cxnId="{4F01D243-28C7-42C8-B0AF-A25A828784F5}">
      <dgm:prSet/>
      <dgm:spPr/>
      <dgm:t>
        <a:bodyPr/>
        <a:lstStyle/>
        <a:p>
          <a:endParaRPr lang="en-US"/>
        </a:p>
      </dgm:t>
    </dgm:pt>
    <dgm:pt modelId="{0FF41537-A660-468A-AABA-6749C30675A2}" type="pres">
      <dgm:prSet presAssocID="{52CA50B3-5256-4E9D-A460-F6089298AB7D}" presName="CompostProcess" presStyleCnt="0">
        <dgm:presLayoutVars>
          <dgm:dir/>
          <dgm:resizeHandles val="exact"/>
        </dgm:presLayoutVars>
      </dgm:prSet>
      <dgm:spPr/>
    </dgm:pt>
    <dgm:pt modelId="{34A19BB8-AD49-47EE-B366-8AC7066466CD}" type="pres">
      <dgm:prSet presAssocID="{52CA50B3-5256-4E9D-A460-F6089298AB7D}" presName="arrow" presStyleLbl="bgShp" presStyleIdx="0" presStyleCnt="1"/>
      <dgm:spPr/>
    </dgm:pt>
    <dgm:pt modelId="{B25252D3-E947-446E-8133-A0CB2115F616}" type="pres">
      <dgm:prSet presAssocID="{52CA50B3-5256-4E9D-A460-F6089298AB7D}" presName="linearProcess" presStyleCnt="0"/>
      <dgm:spPr/>
    </dgm:pt>
    <dgm:pt modelId="{40933703-5F4F-41DC-9A4B-CB08A851E39D}" type="pres">
      <dgm:prSet presAssocID="{0D3F8330-56F9-456F-998D-47A248A0D4C8}" presName="textNode" presStyleLbl="node1" presStyleIdx="0" presStyleCnt="9">
        <dgm:presLayoutVars>
          <dgm:bulletEnabled val="1"/>
        </dgm:presLayoutVars>
      </dgm:prSet>
      <dgm:spPr/>
    </dgm:pt>
    <dgm:pt modelId="{2A631CC2-C0F5-47B9-A929-700DF5ED55D6}" type="pres">
      <dgm:prSet presAssocID="{23406891-45B6-46D2-9B97-F50E6968D625}" presName="sibTrans" presStyleCnt="0"/>
      <dgm:spPr/>
    </dgm:pt>
    <dgm:pt modelId="{C30E9EE1-93FE-4E60-AFEC-EC8571CC3ACB}" type="pres">
      <dgm:prSet presAssocID="{E50F1BAD-52FB-4E44-9508-D3DAB508CAA3}" presName="textNode" presStyleLbl="node1" presStyleIdx="1" presStyleCnt="9">
        <dgm:presLayoutVars>
          <dgm:bulletEnabled val="1"/>
        </dgm:presLayoutVars>
      </dgm:prSet>
      <dgm:spPr/>
    </dgm:pt>
    <dgm:pt modelId="{A2F41D07-DAAF-49B0-8305-03E56A3E49AE}" type="pres">
      <dgm:prSet presAssocID="{6438AEF6-23CB-40EB-AD3E-44E3F17680F2}" presName="sibTrans" presStyleCnt="0"/>
      <dgm:spPr/>
    </dgm:pt>
    <dgm:pt modelId="{CB602A02-AD1D-4BF7-8CA6-DE498358DC77}" type="pres">
      <dgm:prSet presAssocID="{92C1F91D-B169-4BEB-9D5B-742E98F41DB7}" presName="textNode" presStyleLbl="node1" presStyleIdx="2" presStyleCnt="9">
        <dgm:presLayoutVars>
          <dgm:bulletEnabled val="1"/>
        </dgm:presLayoutVars>
      </dgm:prSet>
      <dgm:spPr/>
    </dgm:pt>
    <dgm:pt modelId="{69445A36-DCE2-4255-AE01-22A2DAE2AA25}" type="pres">
      <dgm:prSet presAssocID="{6147DE63-D378-4538-8EC0-E5762E74CD72}" presName="sibTrans" presStyleCnt="0"/>
      <dgm:spPr/>
    </dgm:pt>
    <dgm:pt modelId="{5C47EA68-D969-42D5-81C4-00FE8C611548}" type="pres">
      <dgm:prSet presAssocID="{F8CC183E-693B-4688-98BC-6CB44BDE9CAE}" presName="textNode" presStyleLbl="node1" presStyleIdx="3" presStyleCnt="9">
        <dgm:presLayoutVars>
          <dgm:bulletEnabled val="1"/>
        </dgm:presLayoutVars>
      </dgm:prSet>
      <dgm:spPr/>
    </dgm:pt>
    <dgm:pt modelId="{2ED29F2E-8BFC-468B-8BA3-320A0C3EF29A}" type="pres">
      <dgm:prSet presAssocID="{79C70170-38CC-4F3B-9466-EB03A929262A}" presName="sibTrans" presStyleCnt="0"/>
      <dgm:spPr/>
    </dgm:pt>
    <dgm:pt modelId="{D0F69E5D-C260-4BFF-A2AC-503790B80153}" type="pres">
      <dgm:prSet presAssocID="{DB13E5FC-075C-4AED-8B92-8882C06A203D}" presName="textNode" presStyleLbl="node1" presStyleIdx="4" presStyleCnt="9">
        <dgm:presLayoutVars>
          <dgm:bulletEnabled val="1"/>
        </dgm:presLayoutVars>
      </dgm:prSet>
      <dgm:spPr/>
    </dgm:pt>
    <dgm:pt modelId="{C1359075-9E47-41E3-991B-B52A709B1EEF}" type="pres">
      <dgm:prSet presAssocID="{40406DE6-2BA2-4FBF-A7DC-AC8582E2D776}" presName="sibTrans" presStyleCnt="0"/>
      <dgm:spPr/>
    </dgm:pt>
    <dgm:pt modelId="{13C178FC-5BAB-42B7-A594-05D69B612E11}" type="pres">
      <dgm:prSet presAssocID="{A8B8B93B-C549-40C4-A10A-628DA8276666}" presName="textNode" presStyleLbl="node1" presStyleIdx="5" presStyleCnt="9">
        <dgm:presLayoutVars>
          <dgm:bulletEnabled val="1"/>
        </dgm:presLayoutVars>
      </dgm:prSet>
      <dgm:spPr/>
    </dgm:pt>
    <dgm:pt modelId="{68BDDA3B-96C6-4E83-B86A-18656860C1F6}" type="pres">
      <dgm:prSet presAssocID="{1EFE7F49-BD27-4E5C-85D6-69B180BD45D6}" presName="sibTrans" presStyleCnt="0"/>
      <dgm:spPr/>
    </dgm:pt>
    <dgm:pt modelId="{C4D98D07-32F5-4940-BE3D-7E669319FC00}" type="pres">
      <dgm:prSet presAssocID="{E7DFFAB2-626A-4DA5-891D-88CF56F2BD45}" presName="textNode" presStyleLbl="node1" presStyleIdx="6" presStyleCnt="9">
        <dgm:presLayoutVars>
          <dgm:bulletEnabled val="1"/>
        </dgm:presLayoutVars>
      </dgm:prSet>
      <dgm:spPr/>
    </dgm:pt>
    <dgm:pt modelId="{516D69C7-127F-4462-9934-6B31A93E2079}" type="pres">
      <dgm:prSet presAssocID="{FB27F329-A020-482C-9C97-E5CF44820975}" presName="sibTrans" presStyleCnt="0"/>
      <dgm:spPr/>
    </dgm:pt>
    <dgm:pt modelId="{EEE516C8-B9BD-49B5-A140-33158A826D3F}" type="pres">
      <dgm:prSet presAssocID="{5A4CB40D-7BC2-4F26-8E8F-1A3A031B198C}" presName="textNode" presStyleLbl="node1" presStyleIdx="7" presStyleCnt="9">
        <dgm:presLayoutVars>
          <dgm:bulletEnabled val="1"/>
        </dgm:presLayoutVars>
      </dgm:prSet>
      <dgm:spPr/>
    </dgm:pt>
    <dgm:pt modelId="{E64F5E8F-D69E-434B-ABCC-61690677C274}" type="pres">
      <dgm:prSet presAssocID="{29BAE8DF-392A-4656-A960-0A52F9AF0E89}" presName="sibTrans" presStyleCnt="0"/>
      <dgm:spPr/>
    </dgm:pt>
    <dgm:pt modelId="{8816B1F6-8CBC-48CB-BFFD-77B3971BE86A}" type="pres">
      <dgm:prSet presAssocID="{292FBE66-4626-4BFC-B965-E850236373BB}" presName="textNode" presStyleLbl="node1" presStyleIdx="8" presStyleCnt="9">
        <dgm:presLayoutVars>
          <dgm:bulletEnabled val="1"/>
        </dgm:presLayoutVars>
      </dgm:prSet>
      <dgm:spPr/>
    </dgm:pt>
  </dgm:ptLst>
  <dgm:cxnLst>
    <dgm:cxn modelId="{52F58886-59EB-4933-80A7-EE7459DFF321}" type="presOf" srcId="{E7DFFAB2-626A-4DA5-891D-88CF56F2BD45}" destId="{C4D98D07-32F5-4940-BE3D-7E669319FC00}" srcOrd="0" destOrd="0" presId="urn:microsoft.com/office/officeart/2005/8/layout/hProcess9"/>
    <dgm:cxn modelId="{4D2890B2-96EA-45E4-A7BC-A61D5A5C8288}" srcId="{52CA50B3-5256-4E9D-A460-F6089298AB7D}" destId="{E50F1BAD-52FB-4E44-9508-D3DAB508CAA3}" srcOrd="1" destOrd="0" parTransId="{59BBF665-22EE-45F4-B246-805D713BB2D8}" sibTransId="{6438AEF6-23CB-40EB-AD3E-44E3F17680F2}"/>
    <dgm:cxn modelId="{15D2C075-0A42-4783-B7D2-BA9E6201D8D7}" srcId="{52CA50B3-5256-4E9D-A460-F6089298AB7D}" destId="{F8CC183E-693B-4688-98BC-6CB44BDE9CAE}" srcOrd="3" destOrd="0" parTransId="{96A2AE76-E2BE-4378-A714-B343350A5265}" sibTransId="{79C70170-38CC-4F3B-9466-EB03A929262A}"/>
    <dgm:cxn modelId="{CD9E657F-8AAB-41B2-909D-23B7DEF08D32}" type="presOf" srcId="{92C1F91D-B169-4BEB-9D5B-742E98F41DB7}" destId="{CB602A02-AD1D-4BF7-8CA6-DE498358DC77}" srcOrd="0" destOrd="0" presId="urn:microsoft.com/office/officeart/2005/8/layout/hProcess9"/>
    <dgm:cxn modelId="{4F01D243-28C7-42C8-B0AF-A25A828784F5}" srcId="{52CA50B3-5256-4E9D-A460-F6089298AB7D}" destId="{292FBE66-4626-4BFC-B965-E850236373BB}" srcOrd="8" destOrd="0" parTransId="{FF277CF1-AAB3-4554-969A-5D4ED8DC867D}" sibTransId="{A881477F-0661-42AC-9E08-09191EE5EA6C}"/>
    <dgm:cxn modelId="{9D20BB83-5513-4DE9-AA8C-0DE04BC59B03}" type="presOf" srcId="{F8CC183E-693B-4688-98BC-6CB44BDE9CAE}" destId="{5C47EA68-D969-42D5-81C4-00FE8C611548}" srcOrd="0" destOrd="0" presId="urn:microsoft.com/office/officeart/2005/8/layout/hProcess9"/>
    <dgm:cxn modelId="{7AA77612-5055-4707-BD58-A5BAF5B762FA}" srcId="{52CA50B3-5256-4E9D-A460-F6089298AB7D}" destId="{A8B8B93B-C549-40C4-A10A-628DA8276666}" srcOrd="5" destOrd="0" parTransId="{73FE6F1D-3FC4-4E31-9679-38976E099C0F}" sibTransId="{1EFE7F49-BD27-4E5C-85D6-69B180BD45D6}"/>
    <dgm:cxn modelId="{F8C70001-B999-4796-AA0C-D081605FE3D2}" type="presOf" srcId="{E50F1BAD-52FB-4E44-9508-D3DAB508CAA3}" destId="{C30E9EE1-93FE-4E60-AFEC-EC8571CC3ACB}" srcOrd="0" destOrd="0" presId="urn:microsoft.com/office/officeart/2005/8/layout/hProcess9"/>
    <dgm:cxn modelId="{3036AD1A-8523-47F8-9B98-585EAD474006}" srcId="{52CA50B3-5256-4E9D-A460-F6089298AB7D}" destId="{DB13E5FC-075C-4AED-8B92-8882C06A203D}" srcOrd="4" destOrd="0" parTransId="{A138E63B-5D24-40BA-8DE2-BE49A96E395B}" sibTransId="{40406DE6-2BA2-4FBF-A7DC-AC8582E2D776}"/>
    <dgm:cxn modelId="{71A4B392-7115-47B5-8B56-1E6EC2F9B168}" type="presOf" srcId="{5A4CB40D-7BC2-4F26-8E8F-1A3A031B198C}" destId="{EEE516C8-B9BD-49B5-A140-33158A826D3F}" srcOrd="0" destOrd="0" presId="urn:microsoft.com/office/officeart/2005/8/layout/hProcess9"/>
    <dgm:cxn modelId="{B38A6A2B-8CA7-4E31-8D49-A3D09078CA40}" type="presOf" srcId="{292FBE66-4626-4BFC-B965-E850236373BB}" destId="{8816B1F6-8CBC-48CB-BFFD-77B3971BE86A}" srcOrd="0" destOrd="0" presId="urn:microsoft.com/office/officeart/2005/8/layout/hProcess9"/>
    <dgm:cxn modelId="{694A9C23-2A5F-4BD6-A810-9A69E7F907A9}" type="presOf" srcId="{DB13E5FC-075C-4AED-8B92-8882C06A203D}" destId="{D0F69E5D-C260-4BFF-A2AC-503790B80153}" srcOrd="0" destOrd="0" presId="urn:microsoft.com/office/officeart/2005/8/layout/hProcess9"/>
    <dgm:cxn modelId="{32212192-E3BC-4A15-9E57-1A07B1289C55}" type="presOf" srcId="{0D3F8330-56F9-456F-998D-47A248A0D4C8}" destId="{40933703-5F4F-41DC-9A4B-CB08A851E39D}" srcOrd="0" destOrd="0" presId="urn:microsoft.com/office/officeart/2005/8/layout/hProcess9"/>
    <dgm:cxn modelId="{085AAC55-1544-4F43-BBFD-BA5889715CE1}" srcId="{52CA50B3-5256-4E9D-A460-F6089298AB7D}" destId="{5A4CB40D-7BC2-4F26-8E8F-1A3A031B198C}" srcOrd="7" destOrd="0" parTransId="{7021F4FB-9A80-46AC-BB8C-6A91F111C8EA}" sibTransId="{29BAE8DF-392A-4656-A960-0A52F9AF0E89}"/>
    <dgm:cxn modelId="{A21F750E-3C72-47A5-824B-E4E223FA028E}" type="presOf" srcId="{52CA50B3-5256-4E9D-A460-F6089298AB7D}" destId="{0FF41537-A660-468A-AABA-6749C30675A2}" srcOrd="0" destOrd="0" presId="urn:microsoft.com/office/officeart/2005/8/layout/hProcess9"/>
    <dgm:cxn modelId="{0A1947E4-818A-43A6-A039-62835AE1164F}" type="presOf" srcId="{A8B8B93B-C549-40C4-A10A-628DA8276666}" destId="{13C178FC-5BAB-42B7-A594-05D69B612E11}" srcOrd="0" destOrd="0" presId="urn:microsoft.com/office/officeart/2005/8/layout/hProcess9"/>
    <dgm:cxn modelId="{133E05F3-92F1-4B33-BEAF-87708557373F}" srcId="{52CA50B3-5256-4E9D-A460-F6089298AB7D}" destId="{0D3F8330-56F9-456F-998D-47A248A0D4C8}" srcOrd="0" destOrd="0" parTransId="{EF116802-4427-439A-869C-EFA6FEF82AC5}" sibTransId="{23406891-45B6-46D2-9B97-F50E6968D625}"/>
    <dgm:cxn modelId="{5395292E-6FBA-494E-84A4-97430DC4C2EC}" srcId="{52CA50B3-5256-4E9D-A460-F6089298AB7D}" destId="{92C1F91D-B169-4BEB-9D5B-742E98F41DB7}" srcOrd="2" destOrd="0" parTransId="{1632C978-F846-45CF-842E-43A7ECAD81B0}" sibTransId="{6147DE63-D378-4538-8EC0-E5762E74CD72}"/>
    <dgm:cxn modelId="{27328C1A-2855-404C-9C79-CBF5133CCE52}" srcId="{52CA50B3-5256-4E9D-A460-F6089298AB7D}" destId="{E7DFFAB2-626A-4DA5-891D-88CF56F2BD45}" srcOrd="6" destOrd="0" parTransId="{CEAE10EA-8B21-41E4-A6F5-BE1635DAADCB}" sibTransId="{FB27F329-A020-482C-9C97-E5CF44820975}"/>
    <dgm:cxn modelId="{0BE88B3F-BD99-4D25-B782-116C774465CA}" type="presParOf" srcId="{0FF41537-A660-468A-AABA-6749C30675A2}" destId="{34A19BB8-AD49-47EE-B366-8AC7066466CD}" srcOrd="0" destOrd="0" presId="urn:microsoft.com/office/officeart/2005/8/layout/hProcess9"/>
    <dgm:cxn modelId="{90D18072-1003-462F-9653-E309BB3F8B46}" type="presParOf" srcId="{0FF41537-A660-468A-AABA-6749C30675A2}" destId="{B25252D3-E947-446E-8133-A0CB2115F616}" srcOrd="1" destOrd="0" presId="urn:microsoft.com/office/officeart/2005/8/layout/hProcess9"/>
    <dgm:cxn modelId="{8FAE75F2-787A-4D7C-9083-9C0CA7905328}" type="presParOf" srcId="{B25252D3-E947-446E-8133-A0CB2115F616}" destId="{40933703-5F4F-41DC-9A4B-CB08A851E39D}" srcOrd="0" destOrd="0" presId="urn:microsoft.com/office/officeart/2005/8/layout/hProcess9"/>
    <dgm:cxn modelId="{BC0AFC6D-86AD-4732-B4F5-195DEA0551C6}" type="presParOf" srcId="{B25252D3-E947-446E-8133-A0CB2115F616}" destId="{2A631CC2-C0F5-47B9-A929-700DF5ED55D6}" srcOrd="1" destOrd="0" presId="urn:microsoft.com/office/officeart/2005/8/layout/hProcess9"/>
    <dgm:cxn modelId="{5225F9BE-EDBF-466F-84E8-950FCF390296}" type="presParOf" srcId="{B25252D3-E947-446E-8133-A0CB2115F616}" destId="{C30E9EE1-93FE-4E60-AFEC-EC8571CC3ACB}" srcOrd="2" destOrd="0" presId="urn:microsoft.com/office/officeart/2005/8/layout/hProcess9"/>
    <dgm:cxn modelId="{717FAE39-087F-41B3-AFC4-9F196D1305B4}" type="presParOf" srcId="{B25252D3-E947-446E-8133-A0CB2115F616}" destId="{A2F41D07-DAAF-49B0-8305-03E56A3E49AE}" srcOrd="3" destOrd="0" presId="urn:microsoft.com/office/officeart/2005/8/layout/hProcess9"/>
    <dgm:cxn modelId="{DE069617-0E6E-43C7-B89E-9FE00B3B39C9}" type="presParOf" srcId="{B25252D3-E947-446E-8133-A0CB2115F616}" destId="{CB602A02-AD1D-4BF7-8CA6-DE498358DC77}" srcOrd="4" destOrd="0" presId="urn:microsoft.com/office/officeart/2005/8/layout/hProcess9"/>
    <dgm:cxn modelId="{724F2BEE-F1C7-4A8D-B067-603BA7B26AB4}" type="presParOf" srcId="{B25252D3-E947-446E-8133-A0CB2115F616}" destId="{69445A36-DCE2-4255-AE01-22A2DAE2AA25}" srcOrd="5" destOrd="0" presId="urn:microsoft.com/office/officeart/2005/8/layout/hProcess9"/>
    <dgm:cxn modelId="{E42149F9-F1BD-48E1-8182-E754F1C8A385}" type="presParOf" srcId="{B25252D3-E947-446E-8133-A0CB2115F616}" destId="{5C47EA68-D969-42D5-81C4-00FE8C611548}" srcOrd="6" destOrd="0" presId="urn:microsoft.com/office/officeart/2005/8/layout/hProcess9"/>
    <dgm:cxn modelId="{E35474BE-E6FB-493C-899E-DD267907B4D1}" type="presParOf" srcId="{B25252D3-E947-446E-8133-A0CB2115F616}" destId="{2ED29F2E-8BFC-468B-8BA3-320A0C3EF29A}" srcOrd="7" destOrd="0" presId="urn:microsoft.com/office/officeart/2005/8/layout/hProcess9"/>
    <dgm:cxn modelId="{B6109EF9-BD21-4CFF-AF50-DEFA8BCD8E2C}" type="presParOf" srcId="{B25252D3-E947-446E-8133-A0CB2115F616}" destId="{D0F69E5D-C260-4BFF-A2AC-503790B80153}" srcOrd="8" destOrd="0" presId="urn:microsoft.com/office/officeart/2005/8/layout/hProcess9"/>
    <dgm:cxn modelId="{298F3D9F-F574-4445-8D86-CCB0D1749F56}" type="presParOf" srcId="{B25252D3-E947-446E-8133-A0CB2115F616}" destId="{C1359075-9E47-41E3-991B-B52A709B1EEF}" srcOrd="9" destOrd="0" presId="urn:microsoft.com/office/officeart/2005/8/layout/hProcess9"/>
    <dgm:cxn modelId="{1ABC7E68-1E93-4ECE-8EF0-B3F838DF0E6B}" type="presParOf" srcId="{B25252D3-E947-446E-8133-A0CB2115F616}" destId="{13C178FC-5BAB-42B7-A594-05D69B612E11}" srcOrd="10" destOrd="0" presId="urn:microsoft.com/office/officeart/2005/8/layout/hProcess9"/>
    <dgm:cxn modelId="{BDF6D2DA-ACF2-4683-9FA9-F05E1E7B9DDC}" type="presParOf" srcId="{B25252D3-E947-446E-8133-A0CB2115F616}" destId="{68BDDA3B-96C6-4E83-B86A-18656860C1F6}" srcOrd="11" destOrd="0" presId="urn:microsoft.com/office/officeart/2005/8/layout/hProcess9"/>
    <dgm:cxn modelId="{66958626-48DA-4B16-9598-C98F9C505396}" type="presParOf" srcId="{B25252D3-E947-446E-8133-A0CB2115F616}" destId="{C4D98D07-32F5-4940-BE3D-7E669319FC00}" srcOrd="12" destOrd="0" presId="urn:microsoft.com/office/officeart/2005/8/layout/hProcess9"/>
    <dgm:cxn modelId="{1067846E-87BD-4D97-B964-5399D8C0A250}" type="presParOf" srcId="{B25252D3-E947-446E-8133-A0CB2115F616}" destId="{516D69C7-127F-4462-9934-6B31A93E2079}" srcOrd="13" destOrd="0" presId="urn:microsoft.com/office/officeart/2005/8/layout/hProcess9"/>
    <dgm:cxn modelId="{8B4C6E3E-63C9-4512-B049-5A981183AB42}" type="presParOf" srcId="{B25252D3-E947-446E-8133-A0CB2115F616}" destId="{EEE516C8-B9BD-49B5-A140-33158A826D3F}" srcOrd="14" destOrd="0" presId="urn:microsoft.com/office/officeart/2005/8/layout/hProcess9"/>
    <dgm:cxn modelId="{5DEA0333-C88C-4B1F-B647-91D219981271}" type="presParOf" srcId="{B25252D3-E947-446E-8133-A0CB2115F616}" destId="{E64F5E8F-D69E-434B-ABCC-61690677C274}" srcOrd="15" destOrd="0" presId="urn:microsoft.com/office/officeart/2005/8/layout/hProcess9"/>
    <dgm:cxn modelId="{102D7621-EBFD-4599-BA0E-D5A90E127855}" type="presParOf" srcId="{B25252D3-E947-446E-8133-A0CB2115F616}" destId="{8816B1F6-8CBC-48CB-BFFD-77B3971BE86A}" srcOrd="16" destOrd="0" presId="urn:microsoft.com/office/officeart/2005/8/layout/hProcess9"/>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638BD26-6F6E-454C-B2B1-98B2246EEA1A}">
      <dsp:nvSpPr>
        <dsp:cNvPr id="0" name=""/>
        <dsp:cNvSpPr/>
      </dsp:nvSpPr>
      <dsp:spPr>
        <a:xfrm>
          <a:off x="3831589" y="1306639"/>
          <a:ext cx="1604644" cy="1604644"/>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AB7CF05-0843-4C9A-B99E-118B95B83C2A}">
      <dsp:nvSpPr>
        <dsp:cNvPr id="0" name=""/>
        <dsp:cNvSpPr/>
      </dsp:nvSpPr>
      <dsp:spPr>
        <a:xfrm>
          <a:off x="3703217" y="0"/>
          <a:ext cx="1861388" cy="10774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b="0" kern="1200" dirty="0" smtClean="0"/>
            <a:t>Default Region US-EAST-1</a:t>
          </a:r>
          <a:endParaRPr lang="en-US" sz="2200" kern="1200" dirty="0"/>
        </a:p>
      </dsp:txBody>
      <dsp:txXfrm>
        <a:off x="3703217" y="0"/>
        <a:ext cx="1861388" cy="1077404"/>
      </dsp:txXfrm>
    </dsp:sp>
    <dsp:sp modelId="{C8484E8B-F1BF-4EC1-926C-C54542FDC8C0}">
      <dsp:nvSpPr>
        <dsp:cNvPr id="0" name=""/>
        <dsp:cNvSpPr/>
      </dsp:nvSpPr>
      <dsp:spPr>
        <a:xfrm>
          <a:off x="4441996" y="1749979"/>
          <a:ext cx="1604644" cy="1604644"/>
        </a:xfrm>
        <a:prstGeom prst="ellipse">
          <a:avLst/>
        </a:prstGeom>
        <a:solidFill>
          <a:schemeClr val="accent2">
            <a:alpha val="50000"/>
            <a:hueOff val="4870768"/>
            <a:satOff val="-4882"/>
            <a:lumOff val="-19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5E25329-AD58-435E-8F68-9D97513B4589}">
      <dsp:nvSpPr>
        <dsp:cNvPr id="0" name=""/>
        <dsp:cNvSpPr/>
      </dsp:nvSpPr>
      <dsp:spPr>
        <a:xfrm>
          <a:off x="6174371" y="1421256"/>
          <a:ext cx="1668830" cy="1169098"/>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endParaRPr lang="en-US" sz="2200" b="0" kern="1200" dirty="0"/>
        </a:p>
      </dsp:txBody>
      <dsp:txXfrm>
        <a:off x="6174371" y="1421256"/>
        <a:ext cx="1668830" cy="1169098"/>
      </dsp:txXfrm>
    </dsp:sp>
    <dsp:sp modelId="{74AC3671-784E-4194-80F6-0505040113E5}">
      <dsp:nvSpPr>
        <dsp:cNvPr id="0" name=""/>
        <dsp:cNvSpPr/>
      </dsp:nvSpPr>
      <dsp:spPr>
        <a:xfrm>
          <a:off x="4209002" y="2467944"/>
          <a:ext cx="1604644" cy="1604644"/>
        </a:xfrm>
        <a:prstGeom prst="ellipse">
          <a:avLst/>
        </a:prstGeom>
        <a:solidFill>
          <a:schemeClr val="accent2">
            <a:alpha val="50000"/>
            <a:hueOff val="9741535"/>
            <a:satOff val="-9765"/>
            <a:lumOff val="-3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D3E0C27A-2C25-476F-A85D-60EE8AE47491}">
      <dsp:nvSpPr>
        <dsp:cNvPr id="0" name=""/>
        <dsp:cNvSpPr/>
      </dsp:nvSpPr>
      <dsp:spPr>
        <a:xfrm>
          <a:off x="6285922" y="2082104"/>
          <a:ext cx="1668830" cy="1169098"/>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b="0" kern="1200" dirty="0" smtClean="0"/>
            <a:t>Some have default regions (java)</a:t>
          </a:r>
          <a:endParaRPr lang="en-US" sz="2200" kern="1200" dirty="0"/>
        </a:p>
      </dsp:txBody>
      <dsp:txXfrm>
        <a:off x="6285922" y="2082104"/>
        <a:ext cx="1668830" cy="1169098"/>
      </dsp:txXfrm>
    </dsp:sp>
    <dsp:sp modelId="{DF210326-BCA3-4088-A4B9-738E127ADC66}">
      <dsp:nvSpPr>
        <dsp:cNvPr id="0" name=""/>
        <dsp:cNvSpPr/>
      </dsp:nvSpPr>
      <dsp:spPr>
        <a:xfrm>
          <a:off x="3454176" y="2467944"/>
          <a:ext cx="1604644" cy="1604644"/>
        </a:xfrm>
        <a:prstGeom prst="ellipse">
          <a:avLst/>
        </a:prstGeom>
        <a:solidFill>
          <a:schemeClr val="accent2">
            <a:alpha val="50000"/>
            <a:hueOff val="14612303"/>
            <a:satOff val="-14647"/>
            <a:lumOff val="-57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6A1B482-B39C-49B1-8C33-6794F313FF63}">
      <dsp:nvSpPr>
        <dsp:cNvPr id="0" name=""/>
        <dsp:cNvSpPr/>
      </dsp:nvSpPr>
      <dsp:spPr>
        <a:xfrm>
          <a:off x="1681365" y="3415601"/>
          <a:ext cx="1668830" cy="1169098"/>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endParaRPr lang="en-US" sz="2200" b="0" kern="1200" dirty="0"/>
        </a:p>
      </dsp:txBody>
      <dsp:txXfrm>
        <a:off x="1681365" y="3415601"/>
        <a:ext cx="1668830" cy="1169098"/>
      </dsp:txXfrm>
    </dsp:sp>
    <dsp:sp modelId="{62FFB070-A2BE-421F-84BF-F2166C5E0F26}">
      <dsp:nvSpPr>
        <dsp:cNvPr id="0" name=""/>
        <dsp:cNvSpPr/>
      </dsp:nvSpPr>
      <dsp:spPr>
        <a:xfrm>
          <a:off x="3221182" y="1749979"/>
          <a:ext cx="1604644" cy="1604644"/>
        </a:xfrm>
        <a:prstGeom prst="ellipse">
          <a:avLst/>
        </a:prstGeom>
        <a:solidFill>
          <a:schemeClr val="accent2">
            <a:alpha val="50000"/>
            <a:hueOff val="19483070"/>
            <a:satOff val="-19529"/>
            <a:lumOff val="-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B2463F0-AECF-48B1-95DD-B28E6F776522}">
      <dsp:nvSpPr>
        <dsp:cNvPr id="0" name=""/>
        <dsp:cNvSpPr/>
      </dsp:nvSpPr>
      <dsp:spPr>
        <a:xfrm>
          <a:off x="1234124" y="2246757"/>
          <a:ext cx="1668830" cy="1169098"/>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b="0" kern="1200" dirty="0" smtClean="0"/>
            <a:t>Some do not (Node.js)</a:t>
          </a:r>
          <a:endParaRPr lang="en-US" sz="2200" b="0" kern="1200" dirty="0"/>
        </a:p>
      </dsp:txBody>
      <dsp:txXfrm>
        <a:off x="1234124" y="2246757"/>
        <a:ext cx="1668830" cy="1169098"/>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F8F03B1-7E34-42E7-9A41-ADCF1F2E7850}">
      <dsp:nvSpPr>
        <dsp:cNvPr id="0" name=""/>
        <dsp:cNvSpPr/>
      </dsp:nvSpPr>
      <dsp:spPr>
        <a:xfrm>
          <a:off x="3258501" y="57308"/>
          <a:ext cx="2750820" cy="2750820"/>
        </a:xfrm>
        <a:prstGeom prst="ellipse">
          <a:avLst/>
        </a:prstGeom>
        <a:solidFill>
          <a:schemeClr val="accent2">
            <a:lumMod val="75000"/>
            <a:alpha val="50000"/>
          </a:schemeClr>
        </a:solidFill>
        <a:ln w="25400" cap="flat" cmpd="sng" algn="ctr">
          <a:solidFill>
            <a:schemeClr val="accent3">
              <a:lumMod val="60000"/>
              <a:lumOff val="4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33500" rtl="0">
            <a:lnSpc>
              <a:spcPct val="90000"/>
            </a:lnSpc>
            <a:spcBef>
              <a:spcPct val="0"/>
            </a:spcBef>
            <a:spcAft>
              <a:spcPct val="35000"/>
            </a:spcAft>
          </a:pPr>
          <a:r>
            <a:rPr lang="en-US" sz="3000" b="0" kern="1200" dirty="0" smtClean="0"/>
            <a:t>On Demand</a:t>
          </a:r>
          <a:endParaRPr lang="en-US" sz="3000" b="0" kern="1200" dirty="0"/>
        </a:p>
      </dsp:txBody>
      <dsp:txXfrm>
        <a:off x="3625278" y="538702"/>
        <a:ext cx="2017268" cy="1237868"/>
      </dsp:txXfrm>
    </dsp:sp>
    <dsp:sp modelId="{99E77B29-6547-46C5-ACC4-C04B1223F567}">
      <dsp:nvSpPr>
        <dsp:cNvPr id="0" name=""/>
        <dsp:cNvSpPr/>
      </dsp:nvSpPr>
      <dsp:spPr>
        <a:xfrm>
          <a:off x="4251089" y="1776571"/>
          <a:ext cx="2750820" cy="2750820"/>
        </a:xfrm>
        <a:prstGeom prst="ellipse">
          <a:avLst/>
        </a:prstGeom>
        <a:solidFill>
          <a:schemeClr val="accent4">
            <a:lumMod val="40000"/>
            <a:lumOff val="60000"/>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33500" rtl="0">
            <a:lnSpc>
              <a:spcPct val="90000"/>
            </a:lnSpc>
            <a:spcBef>
              <a:spcPct val="0"/>
            </a:spcBef>
            <a:spcAft>
              <a:spcPct val="35000"/>
            </a:spcAft>
          </a:pPr>
          <a:r>
            <a:rPr lang="en-US" sz="3000" b="0" kern="1200" dirty="0" smtClean="0"/>
            <a:t>Reserved</a:t>
          </a:r>
          <a:endParaRPr lang="en-US" sz="3000" kern="1200" dirty="0"/>
        </a:p>
      </dsp:txBody>
      <dsp:txXfrm>
        <a:off x="5092382" y="2487199"/>
        <a:ext cx="1650492" cy="1512951"/>
      </dsp:txXfrm>
    </dsp:sp>
    <dsp:sp modelId="{61689B41-3D35-49B9-B86D-7E7DC6EB5D94}">
      <dsp:nvSpPr>
        <dsp:cNvPr id="0" name=""/>
        <dsp:cNvSpPr/>
      </dsp:nvSpPr>
      <dsp:spPr>
        <a:xfrm>
          <a:off x="2265914" y="1776571"/>
          <a:ext cx="2750820" cy="2750820"/>
        </a:xfrm>
        <a:prstGeom prst="ellipse">
          <a:avLst/>
        </a:prstGeom>
        <a:solidFill>
          <a:schemeClr val="accent3">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33500" rtl="0">
            <a:lnSpc>
              <a:spcPct val="90000"/>
            </a:lnSpc>
            <a:spcBef>
              <a:spcPct val="0"/>
            </a:spcBef>
            <a:spcAft>
              <a:spcPct val="35000"/>
            </a:spcAft>
          </a:pPr>
          <a:r>
            <a:rPr lang="en-US" sz="3000" b="0" kern="1200" dirty="0" smtClean="0"/>
            <a:t>Spot</a:t>
          </a:r>
          <a:endParaRPr lang="en-US" sz="3000" b="0" kern="1200" dirty="0"/>
        </a:p>
      </dsp:txBody>
      <dsp:txXfrm>
        <a:off x="2524949" y="2487199"/>
        <a:ext cx="1650492" cy="1512951"/>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E1548B1-11C3-45A3-BC94-DCACCF1C0701}">
      <dsp:nvSpPr>
        <dsp:cNvPr id="0" name=""/>
        <dsp:cNvSpPr/>
      </dsp:nvSpPr>
      <dsp:spPr>
        <a:xfrm>
          <a:off x="2341562" y="0"/>
          <a:ext cx="4584699" cy="4584699"/>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G</a:t>
          </a:r>
          <a:endParaRPr lang="en-US" sz="1600" kern="1200" dirty="0"/>
        </a:p>
      </dsp:txBody>
      <dsp:txXfrm>
        <a:off x="3774281" y="229235"/>
        <a:ext cx="1719262" cy="458470"/>
      </dsp:txXfrm>
    </dsp:sp>
    <dsp:sp modelId="{57007697-18E7-4A6F-AB61-95072F3F38E5}">
      <dsp:nvSpPr>
        <dsp:cNvPr id="0" name=""/>
        <dsp:cNvSpPr/>
      </dsp:nvSpPr>
      <dsp:spPr>
        <a:xfrm>
          <a:off x="2685415" y="687704"/>
          <a:ext cx="3896995" cy="3896995"/>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a:t>
          </a:r>
          <a:endParaRPr lang="en-US" sz="1600" kern="1200" dirty="0"/>
        </a:p>
      </dsp:txBody>
      <dsp:txXfrm>
        <a:off x="3793622" y="911782"/>
        <a:ext cx="1680579" cy="448154"/>
      </dsp:txXfrm>
    </dsp:sp>
    <dsp:sp modelId="{54333E51-4159-4DCB-8AE1-A8862FFA3339}">
      <dsp:nvSpPr>
        <dsp:cNvPr id="0" name=""/>
        <dsp:cNvSpPr/>
      </dsp:nvSpPr>
      <dsp:spPr>
        <a:xfrm>
          <a:off x="3029267" y="1375409"/>
          <a:ext cx="3209289" cy="3209289"/>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M</a:t>
          </a:r>
          <a:endParaRPr lang="en-US" sz="1600" kern="1200" dirty="0"/>
        </a:p>
      </dsp:txBody>
      <dsp:txXfrm>
        <a:off x="3803508" y="1596851"/>
        <a:ext cx="1660807" cy="442882"/>
      </dsp:txXfrm>
    </dsp:sp>
    <dsp:sp modelId="{AAFC8CFA-FAE0-4823-A45B-951B828353F2}">
      <dsp:nvSpPr>
        <dsp:cNvPr id="0" name=""/>
        <dsp:cNvSpPr/>
      </dsp:nvSpPr>
      <dsp:spPr>
        <a:xfrm>
          <a:off x="3373120" y="2063114"/>
          <a:ext cx="2521585" cy="252158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T</a:t>
          </a:r>
          <a:endParaRPr lang="en-US" sz="1600" kern="1200" dirty="0"/>
        </a:p>
      </dsp:txBody>
      <dsp:txXfrm>
        <a:off x="3953084" y="2290057"/>
        <a:ext cx="1361655" cy="453885"/>
      </dsp:txXfrm>
    </dsp:sp>
    <dsp:sp modelId="{849C66A6-EBD4-46B1-AD5E-549BC15D8A35}">
      <dsp:nvSpPr>
        <dsp:cNvPr id="0" name=""/>
        <dsp:cNvSpPr/>
      </dsp:nvSpPr>
      <dsp:spPr>
        <a:xfrm>
          <a:off x="3716972" y="2750819"/>
          <a:ext cx="1833880" cy="1833880"/>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R</a:t>
          </a:r>
          <a:endParaRPr lang="en-US" sz="1600" kern="1200" dirty="0"/>
        </a:p>
      </dsp:txBody>
      <dsp:txXfrm>
        <a:off x="4037901" y="2980054"/>
        <a:ext cx="1192022" cy="458470"/>
      </dsp:txXfrm>
    </dsp:sp>
    <dsp:sp modelId="{B0D49CEF-82A6-4E84-B841-6BC3231A9FB7}">
      <dsp:nvSpPr>
        <dsp:cNvPr id="0" name=""/>
        <dsp:cNvSpPr/>
      </dsp:nvSpPr>
      <dsp:spPr>
        <a:xfrm>
          <a:off x="4060825" y="3438525"/>
          <a:ext cx="1146174" cy="1146174"/>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smtClean="0"/>
            <a:t>I</a:t>
          </a:r>
          <a:endParaRPr lang="en-US" sz="1400" b="1" kern="1200" dirty="0"/>
        </a:p>
      </dsp:txBody>
      <dsp:txXfrm>
        <a:off x="4244213" y="3609878"/>
        <a:ext cx="779399" cy="276228"/>
      </dsp:txXfrm>
    </dsp:sp>
    <dsp:sp modelId="{CDC255F3-989C-45F1-9C32-0C8F414457B3}">
      <dsp:nvSpPr>
        <dsp:cNvPr id="0" name=""/>
        <dsp:cNvSpPr/>
      </dsp:nvSpPr>
      <dsp:spPr>
        <a:xfrm>
          <a:off x="4290060" y="3896994"/>
          <a:ext cx="687705" cy="687705"/>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smtClean="0"/>
            <a:t>D</a:t>
          </a:r>
          <a:endParaRPr lang="en-US" sz="1400" b="1" kern="1200" dirty="0"/>
        </a:p>
      </dsp:txBody>
      <dsp:txXfrm>
        <a:off x="4390772" y="4068921"/>
        <a:ext cx="486280" cy="343852"/>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74EBDB9-4C1C-46C4-B9F5-D4705473D158}">
      <dsp:nvSpPr>
        <dsp:cNvPr id="0" name=""/>
        <dsp:cNvSpPr/>
      </dsp:nvSpPr>
      <dsp:spPr>
        <a:xfrm>
          <a:off x="4508646" y="1782441"/>
          <a:ext cx="2521585" cy="2521585"/>
        </a:xfrm>
        <a:prstGeom prst="gear9">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US" sz="1500" b="1" kern="1200" dirty="0" smtClean="0"/>
            <a:t>ELB ‘s are not free , you are charged by the hour and on a per basis of usage .</a:t>
          </a:r>
          <a:endParaRPr lang="en-US" sz="1500" kern="1200" dirty="0"/>
        </a:p>
      </dsp:txBody>
      <dsp:txXfrm>
        <a:off x="4508646" y="1782441"/>
        <a:ext cx="2521585" cy="2521585"/>
      </dsp:txXfrm>
    </dsp:sp>
    <dsp:sp modelId="{F493A9BE-565A-4372-B4EC-B3EE49ADE92A}">
      <dsp:nvSpPr>
        <dsp:cNvPr id="0" name=""/>
        <dsp:cNvSpPr/>
      </dsp:nvSpPr>
      <dsp:spPr>
        <a:xfrm>
          <a:off x="1437477" y="292100"/>
          <a:ext cx="3645019" cy="2631947"/>
        </a:xfrm>
        <a:prstGeom prst="gear6">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US" sz="1500" b="1" kern="1200" dirty="0" smtClean="0"/>
            <a:t>Services which are free include  Cloud Formation , Elastic Beanstalk ,Auto Scaling ,Opsworks </a:t>
          </a:r>
          <a:endParaRPr lang="en-US" sz="1500" kern="1200" dirty="0"/>
        </a:p>
      </dsp:txBody>
      <dsp:txXfrm>
        <a:off x="1437477" y="292100"/>
        <a:ext cx="3645019" cy="2631947"/>
      </dsp:txXfrm>
    </dsp:sp>
    <dsp:sp modelId="{A10F60DE-896A-4878-8ADD-BD8D457E299E}">
      <dsp:nvSpPr>
        <dsp:cNvPr id="0" name=""/>
        <dsp:cNvSpPr/>
      </dsp:nvSpPr>
      <dsp:spPr>
        <a:xfrm>
          <a:off x="5449040" y="191288"/>
          <a:ext cx="3101549" cy="3101549"/>
        </a:xfrm>
        <a:prstGeom prst="circularArrow">
          <a:avLst>
            <a:gd name="adj1" fmla="val 4878"/>
            <a:gd name="adj2" fmla="val 312630"/>
            <a:gd name="adj3" fmla="val 3171488"/>
            <a:gd name="adj4" fmla="val 15182541"/>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1E2879D-6192-4BC6-8F00-1840CFDF11EF}">
      <dsp:nvSpPr>
        <dsp:cNvPr id="0" name=""/>
        <dsp:cNvSpPr/>
      </dsp:nvSpPr>
      <dsp:spPr>
        <a:xfrm>
          <a:off x="989564" y="4298"/>
          <a:ext cx="2345074" cy="2345074"/>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4A19BB8-AD49-47EE-B366-8AC7066466CD}">
      <dsp:nvSpPr>
        <dsp:cNvPr id="0" name=""/>
        <dsp:cNvSpPr/>
      </dsp:nvSpPr>
      <dsp:spPr>
        <a:xfrm>
          <a:off x="695086" y="0"/>
          <a:ext cx="7877650" cy="4584699"/>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933703-5F4F-41DC-9A4B-CB08A851E39D}">
      <dsp:nvSpPr>
        <dsp:cNvPr id="0" name=""/>
        <dsp:cNvSpPr/>
      </dsp:nvSpPr>
      <dsp:spPr>
        <a:xfrm>
          <a:off x="2602" y="1375409"/>
          <a:ext cx="985385" cy="18338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Android ,iOS , JavaScript (Browser)</a:t>
          </a:r>
          <a:endParaRPr lang="en-US" sz="1200" kern="1200" dirty="0"/>
        </a:p>
      </dsp:txBody>
      <dsp:txXfrm>
        <a:off x="2602" y="1375409"/>
        <a:ext cx="985385" cy="1833880"/>
      </dsp:txXfrm>
    </dsp:sp>
    <dsp:sp modelId="{C30E9EE1-93FE-4E60-AFEC-EC8571CC3ACB}">
      <dsp:nvSpPr>
        <dsp:cNvPr id="0" name=""/>
        <dsp:cNvSpPr/>
      </dsp:nvSpPr>
      <dsp:spPr>
        <a:xfrm>
          <a:off x="1037256" y="1375409"/>
          <a:ext cx="985385" cy="1833880"/>
        </a:xfrm>
        <a:prstGeom prst="roundRect">
          <a:avLst/>
        </a:prstGeom>
        <a:solidFill>
          <a:schemeClr val="accent5">
            <a:hueOff val="-987529"/>
            <a:satOff val="-2594"/>
            <a:lumOff val="3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Java</a:t>
          </a:r>
          <a:endParaRPr lang="en-US" sz="1200" kern="1200" dirty="0"/>
        </a:p>
      </dsp:txBody>
      <dsp:txXfrm>
        <a:off x="1037256" y="1375409"/>
        <a:ext cx="985385" cy="1833880"/>
      </dsp:txXfrm>
    </dsp:sp>
    <dsp:sp modelId="{CB602A02-AD1D-4BF7-8CA6-DE498358DC77}">
      <dsp:nvSpPr>
        <dsp:cNvPr id="0" name=""/>
        <dsp:cNvSpPr/>
      </dsp:nvSpPr>
      <dsp:spPr>
        <a:xfrm>
          <a:off x="2071910" y="1375409"/>
          <a:ext cx="985385" cy="1833880"/>
        </a:xfrm>
        <a:prstGeom prst="roundRect">
          <a:avLst/>
        </a:prstGeom>
        <a:solidFill>
          <a:schemeClr val="accent5">
            <a:hueOff val="-1975057"/>
            <a:satOff val="-5187"/>
            <a:lumOff val="6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err="1" smtClean="0"/>
            <a:t>.Net</a:t>
          </a:r>
          <a:endParaRPr lang="en-US" sz="1200" kern="1200" dirty="0"/>
        </a:p>
      </dsp:txBody>
      <dsp:txXfrm>
        <a:off x="2071910" y="1375409"/>
        <a:ext cx="985385" cy="1833880"/>
      </dsp:txXfrm>
    </dsp:sp>
    <dsp:sp modelId="{5C47EA68-D969-42D5-81C4-00FE8C611548}">
      <dsp:nvSpPr>
        <dsp:cNvPr id="0" name=""/>
        <dsp:cNvSpPr/>
      </dsp:nvSpPr>
      <dsp:spPr>
        <a:xfrm>
          <a:off x="3106565" y="1375409"/>
          <a:ext cx="985385" cy="1833880"/>
        </a:xfrm>
        <a:prstGeom prst="roundRect">
          <a:avLst/>
        </a:prstGeom>
        <a:solidFill>
          <a:schemeClr val="accent5">
            <a:hueOff val="-2962586"/>
            <a:satOff val="-7781"/>
            <a:lumOff val="9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Node.js</a:t>
          </a:r>
          <a:endParaRPr lang="en-US" sz="1200" kern="1200" dirty="0"/>
        </a:p>
      </dsp:txBody>
      <dsp:txXfrm>
        <a:off x="3106565" y="1375409"/>
        <a:ext cx="985385" cy="1833880"/>
      </dsp:txXfrm>
    </dsp:sp>
    <dsp:sp modelId="{D0F69E5D-C260-4BFF-A2AC-503790B80153}">
      <dsp:nvSpPr>
        <dsp:cNvPr id="0" name=""/>
        <dsp:cNvSpPr/>
      </dsp:nvSpPr>
      <dsp:spPr>
        <a:xfrm>
          <a:off x="4141219" y="1375409"/>
          <a:ext cx="985385" cy="1833880"/>
        </a:xfrm>
        <a:prstGeom prst="roundRect">
          <a:avLst/>
        </a:prstGeom>
        <a:solidFill>
          <a:schemeClr val="accent5">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PHP</a:t>
          </a:r>
          <a:endParaRPr lang="en-US" sz="1200" kern="1200" dirty="0"/>
        </a:p>
      </dsp:txBody>
      <dsp:txXfrm>
        <a:off x="4141219" y="1375409"/>
        <a:ext cx="985385" cy="1833880"/>
      </dsp:txXfrm>
    </dsp:sp>
    <dsp:sp modelId="{13C178FC-5BAB-42B7-A594-05D69B612E11}">
      <dsp:nvSpPr>
        <dsp:cNvPr id="0" name=""/>
        <dsp:cNvSpPr/>
      </dsp:nvSpPr>
      <dsp:spPr>
        <a:xfrm>
          <a:off x="5175873" y="1375409"/>
          <a:ext cx="985385" cy="1833880"/>
        </a:xfrm>
        <a:prstGeom prst="roundRect">
          <a:avLst/>
        </a:prstGeom>
        <a:solidFill>
          <a:schemeClr val="accent5">
            <a:hueOff val="-4937643"/>
            <a:satOff val="-12969"/>
            <a:lumOff val="15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Python</a:t>
          </a:r>
          <a:endParaRPr lang="en-US" sz="1200" kern="1200" dirty="0"/>
        </a:p>
      </dsp:txBody>
      <dsp:txXfrm>
        <a:off x="5175873" y="1375409"/>
        <a:ext cx="985385" cy="1833880"/>
      </dsp:txXfrm>
    </dsp:sp>
    <dsp:sp modelId="{C4D98D07-32F5-4940-BE3D-7E669319FC00}">
      <dsp:nvSpPr>
        <dsp:cNvPr id="0" name=""/>
        <dsp:cNvSpPr/>
      </dsp:nvSpPr>
      <dsp:spPr>
        <a:xfrm>
          <a:off x="6210528" y="1375409"/>
          <a:ext cx="985385" cy="1833880"/>
        </a:xfrm>
        <a:prstGeom prst="roundRect">
          <a:avLst/>
        </a:prstGeom>
        <a:solidFill>
          <a:schemeClr val="accent5">
            <a:hueOff val="-5925172"/>
            <a:satOff val="-15562"/>
            <a:lumOff val="19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Ruby</a:t>
          </a:r>
          <a:endParaRPr lang="en-US" sz="1200" kern="1200" dirty="0"/>
        </a:p>
      </dsp:txBody>
      <dsp:txXfrm>
        <a:off x="6210528" y="1375409"/>
        <a:ext cx="985385" cy="1833880"/>
      </dsp:txXfrm>
    </dsp:sp>
    <dsp:sp modelId="{EEE516C8-B9BD-49B5-A140-33158A826D3F}">
      <dsp:nvSpPr>
        <dsp:cNvPr id="0" name=""/>
        <dsp:cNvSpPr/>
      </dsp:nvSpPr>
      <dsp:spPr>
        <a:xfrm>
          <a:off x="7245182" y="1375409"/>
          <a:ext cx="985385" cy="1833880"/>
        </a:xfrm>
        <a:prstGeom prst="roundRect">
          <a:avLst/>
        </a:prstGeom>
        <a:solidFill>
          <a:schemeClr val="accent5">
            <a:hueOff val="-6912701"/>
            <a:satOff val="-18156"/>
            <a:lumOff val="22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Go</a:t>
          </a:r>
          <a:endParaRPr lang="en-US" sz="1200" kern="1200" dirty="0"/>
        </a:p>
      </dsp:txBody>
      <dsp:txXfrm>
        <a:off x="7245182" y="1375409"/>
        <a:ext cx="985385" cy="1833880"/>
      </dsp:txXfrm>
    </dsp:sp>
    <dsp:sp modelId="{8816B1F6-8CBC-48CB-BFFD-77B3971BE86A}">
      <dsp:nvSpPr>
        <dsp:cNvPr id="0" name=""/>
        <dsp:cNvSpPr/>
      </dsp:nvSpPr>
      <dsp:spPr>
        <a:xfrm>
          <a:off x="8279836" y="1375409"/>
          <a:ext cx="985385" cy="183388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C++</a:t>
          </a:r>
          <a:endParaRPr lang="en-US" sz="1200" b="1" kern="1200" dirty="0"/>
        </a:p>
      </dsp:txBody>
      <dsp:txXfrm>
        <a:off x="8279836" y="1375409"/>
        <a:ext cx="985385" cy="183388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3/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5" Type="http://schemas.openxmlformats.org/officeDocument/2006/relationships/image" Target="../media/image63.png"/><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8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80.xml"/><Relationship Id="rId4" Type="http://schemas.openxmlformats.org/officeDocument/2006/relationships/image" Target="../media/image66.jpeg"/></Relationships>
</file>

<file path=ppt/slides/_rels/slide14.xml.rels><?xml version="1.0" encoding="UTF-8" standalone="yes"?>
<Relationships xmlns="http://schemas.openxmlformats.org/package/2006/relationships"><Relationship Id="rId2" Type="http://schemas.openxmlformats.org/officeDocument/2006/relationships/hyperlink" Target="https://aws.amazon.com/ec2/pricing/" TargetMode="External"/><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8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diagramLayout" Target="../diagrams/layout8.xml"/><Relationship Id="rId7" Type="http://schemas.openxmlformats.org/officeDocument/2006/relationships/image" Target="../media/image70.jpeg"/><Relationship Id="rId2" Type="http://schemas.openxmlformats.org/officeDocument/2006/relationships/diagramData" Target="../diagrams/data8.xml"/><Relationship Id="rId1" Type="http://schemas.openxmlformats.org/officeDocument/2006/relationships/slideLayout" Target="../slideLayouts/slideLayout8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8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8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EC2</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at is EC2 ?</a:t>
            </a:r>
          </a:p>
        </p:txBody>
      </p:sp>
      <p:pic>
        <p:nvPicPr>
          <p:cNvPr id="302084" name="Picture 4"/>
          <p:cNvPicPr>
            <a:picLocks noChangeAspect="1" noChangeArrowheads="1"/>
          </p:cNvPicPr>
          <p:nvPr/>
        </p:nvPicPr>
        <p:blipFill>
          <a:blip r:embed="rId5" cstate="print"/>
          <a:srcRect/>
          <a:stretch>
            <a:fillRect/>
          </a:stretch>
        </p:blipFill>
        <p:spPr bwMode="auto">
          <a:xfrm>
            <a:off x="180975" y="1822450"/>
            <a:ext cx="9544050" cy="3213100"/>
          </a:xfrm>
          <a:prstGeom prst="rect">
            <a:avLst/>
          </a:prstGeom>
          <a:noFill/>
          <a:ln w="9525">
            <a:noFill/>
            <a:miter lim="800000"/>
            <a:headEnd/>
            <a:tailEnd/>
          </a:ln>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EC2 Options</a:t>
            </a:r>
          </a:p>
        </p:txBody>
      </p:sp>
      <p:sp>
        <p:nvSpPr>
          <p:cNvPr id="8" name="TextBox 7"/>
          <p:cNvSpPr txBox="1"/>
          <p:nvPr/>
        </p:nvSpPr>
        <p:spPr>
          <a:xfrm>
            <a:off x="800100" y="1371601"/>
            <a:ext cx="8559800" cy="5016758"/>
          </a:xfrm>
          <a:prstGeom prst="rect">
            <a:avLst/>
          </a:prstGeom>
          <a:noFill/>
        </p:spPr>
        <p:txBody>
          <a:bodyPr wrap="square" rtlCol="0">
            <a:spAutoFit/>
          </a:bodyPr>
          <a:lstStyle/>
          <a:p>
            <a:pPr>
              <a:buFont typeface="Arial" pitchFamily="34" charset="0"/>
              <a:buChar char="•"/>
            </a:pPr>
            <a:r>
              <a:rPr lang="en-US" sz="2000" dirty="0" smtClean="0">
                <a:solidFill>
                  <a:schemeClr val="tx2">
                    <a:lumMod val="50000"/>
                  </a:schemeClr>
                </a:solidFill>
              </a:rPr>
              <a:t> </a:t>
            </a:r>
            <a:r>
              <a:rPr lang="en-US" sz="2000" b="1" dirty="0" smtClean="0">
                <a:solidFill>
                  <a:schemeClr val="tx2">
                    <a:lumMod val="50000"/>
                  </a:schemeClr>
                </a:solidFill>
              </a:rPr>
              <a:t>On Demand - allow you to pay a fixed rate by the hour with no commitment </a:t>
            </a:r>
          </a:p>
          <a:p>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Reserved - provide you with a capacity reservation ,and offer a significant  discount on the hourly charge for an instance . 1 year or 3  year terms </a:t>
            </a:r>
          </a:p>
          <a:p>
            <a:pPr>
              <a:buFont typeface="Arial" pitchFamily="34" charset="0"/>
              <a:buChar char="•"/>
            </a:pPr>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Spot - enable you to bid whatever price you want for instance capacity , providing for even greater savings if your applications have flexible start and end times . </a:t>
            </a:r>
          </a:p>
          <a:p>
            <a:endParaRPr lang="en-US" sz="2000" dirty="0" smtClean="0">
              <a:solidFill>
                <a:schemeClr val="tx2">
                  <a:lumMod val="50000"/>
                </a:schemeClr>
              </a:solidFill>
            </a:endParaRPr>
          </a:p>
          <a:p>
            <a:endParaRPr lang="en-US" sz="2000" dirty="0" smtClean="0">
              <a:solidFill>
                <a:schemeClr val="tx2">
                  <a:lumMod val="50000"/>
                </a:schemeClr>
              </a:solidFill>
            </a:endParaRPr>
          </a:p>
          <a:p>
            <a:endParaRPr lang="en-US" sz="2000" dirty="0" smtClean="0">
              <a:solidFill>
                <a:schemeClr val="tx2">
                  <a:lumMod val="50000"/>
                </a:schemeClr>
              </a:solidFill>
            </a:endParaRPr>
          </a:p>
          <a:p>
            <a:pPr marL="457200" indent="-457200"/>
            <a:r>
              <a:rPr lang="en-US" sz="2000" dirty="0" smtClean="0">
                <a:solidFill>
                  <a:schemeClr val="tx2">
                    <a:lumMod val="50000"/>
                  </a:schemeClr>
                </a:solidFill>
              </a:rPr>
              <a:t> </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Options</a:t>
            </a:r>
            <a:endParaRPr lang="en-US" dirty="0"/>
          </a:p>
        </p:txBody>
      </p:sp>
      <p:graphicFrame>
        <p:nvGraphicFramePr>
          <p:cNvPr id="5" name="Content Placeholder 4"/>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Options </a:t>
            </a:r>
            <a:endParaRPr lang="en-US" dirty="0"/>
          </a:p>
        </p:txBody>
      </p:sp>
      <p:pic>
        <p:nvPicPr>
          <p:cNvPr id="657410" name="Picture 2"/>
          <p:cNvPicPr>
            <a:picLocks noGrp="1" noChangeAspect="1" noChangeArrowheads="1"/>
          </p:cNvPicPr>
          <p:nvPr>
            <p:ph sz="quarter" idx="10"/>
          </p:nvPr>
        </p:nvPicPr>
        <p:blipFill>
          <a:blip r:embed="rId2" cstate="print"/>
          <a:srcRect/>
          <a:stretch>
            <a:fillRect/>
          </a:stretch>
        </p:blipFill>
        <p:spPr bwMode="auto">
          <a:xfrm>
            <a:off x="552132" y="1512570"/>
            <a:ext cx="3407496" cy="1560830"/>
          </a:xfrm>
          <a:prstGeom prst="rect">
            <a:avLst/>
          </a:prstGeom>
          <a:noFill/>
          <a:ln w="9525">
            <a:noFill/>
            <a:miter lim="800000"/>
            <a:headEnd/>
            <a:tailEnd/>
          </a:ln>
        </p:spPr>
      </p:pic>
      <p:sp>
        <p:nvSpPr>
          <p:cNvPr id="6" name="Flowchart: Document 5"/>
          <p:cNvSpPr/>
          <p:nvPr/>
        </p:nvSpPr>
        <p:spPr>
          <a:xfrm>
            <a:off x="5702300" y="1828800"/>
            <a:ext cx="3784600" cy="990600"/>
          </a:xfrm>
          <a:prstGeom prst="flowChartDocumen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llows you to pay a fixed rate by the hour with no commitment</a:t>
            </a:r>
            <a:endParaRPr lang="en-US" sz="1400" dirty="0" smtClean="0">
              <a:solidFill>
                <a:schemeClr val="tx2">
                  <a:lumMod val="50000"/>
                </a:schemeClr>
              </a:solidFill>
            </a:endParaRPr>
          </a:p>
        </p:txBody>
      </p:sp>
      <p:sp>
        <p:nvSpPr>
          <p:cNvPr id="7" name="Curved Down Arrow 6"/>
          <p:cNvSpPr/>
          <p:nvPr/>
        </p:nvSpPr>
        <p:spPr>
          <a:xfrm>
            <a:off x="4356100" y="2108200"/>
            <a:ext cx="1117600" cy="3429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TextBox 8"/>
          <p:cNvSpPr txBox="1"/>
          <p:nvPr/>
        </p:nvSpPr>
        <p:spPr>
          <a:xfrm>
            <a:off x="4038600" y="1257300"/>
            <a:ext cx="1892300" cy="307777"/>
          </a:xfrm>
          <a:prstGeom prst="rect">
            <a:avLst/>
          </a:prstGeom>
          <a:noFill/>
        </p:spPr>
        <p:txBody>
          <a:bodyPr wrap="square" rtlCol="0">
            <a:spAutoFit/>
          </a:bodyPr>
          <a:lstStyle/>
          <a:p>
            <a:r>
              <a:rPr lang="en-US" sz="1400" b="1" dirty="0" smtClean="0">
                <a:solidFill>
                  <a:schemeClr val="tx2">
                    <a:lumMod val="50000"/>
                  </a:schemeClr>
                </a:solidFill>
              </a:rPr>
              <a:t>On Demand</a:t>
            </a:r>
            <a:endParaRPr lang="en-US" sz="1400" b="1" dirty="0" smtClean="0">
              <a:solidFill>
                <a:schemeClr val="tx2">
                  <a:lumMod val="50000"/>
                </a:schemeClr>
              </a:solidFill>
            </a:endParaRPr>
          </a:p>
        </p:txBody>
      </p:sp>
      <p:pic>
        <p:nvPicPr>
          <p:cNvPr id="657411" name="Picture 3"/>
          <p:cNvPicPr>
            <a:picLocks noChangeAspect="1" noChangeArrowheads="1"/>
          </p:cNvPicPr>
          <p:nvPr/>
        </p:nvPicPr>
        <p:blipFill>
          <a:blip r:embed="rId3" cstate="print"/>
          <a:srcRect/>
          <a:stretch>
            <a:fillRect/>
          </a:stretch>
        </p:blipFill>
        <p:spPr bwMode="auto">
          <a:xfrm>
            <a:off x="846138" y="3233738"/>
            <a:ext cx="2447925" cy="1076325"/>
          </a:xfrm>
          <a:prstGeom prst="rect">
            <a:avLst/>
          </a:prstGeom>
          <a:noFill/>
          <a:ln w="9525">
            <a:noFill/>
            <a:miter lim="800000"/>
            <a:headEnd/>
            <a:tailEnd/>
          </a:ln>
        </p:spPr>
      </p:pic>
      <p:sp>
        <p:nvSpPr>
          <p:cNvPr id="11" name="TextBox 10"/>
          <p:cNvSpPr txBox="1"/>
          <p:nvPr/>
        </p:nvSpPr>
        <p:spPr>
          <a:xfrm>
            <a:off x="4064000" y="3352800"/>
            <a:ext cx="1892300" cy="307777"/>
          </a:xfrm>
          <a:prstGeom prst="rect">
            <a:avLst/>
          </a:prstGeom>
          <a:noFill/>
        </p:spPr>
        <p:txBody>
          <a:bodyPr wrap="square" rtlCol="0">
            <a:spAutoFit/>
          </a:bodyPr>
          <a:lstStyle/>
          <a:p>
            <a:r>
              <a:rPr lang="en-US" sz="1400" b="1" dirty="0" smtClean="0">
                <a:solidFill>
                  <a:schemeClr val="tx2">
                    <a:lumMod val="50000"/>
                  </a:schemeClr>
                </a:solidFill>
              </a:rPr>
              <a:t>Reserved</a:t>
            </a:r>
            <a:endParaRPr lang="en-US" sz="1400" b="1" dirty="0" smtClean="0">
              <a:solidFill>
                <a:schemeClr val="tx2">
                  <a:lumMod val="50000"/>
                </a:schemeClr>
              </a:solidFill>
            </a:endParaRPr>
          </a:p>
        </p:txBody>
      </p:sp>
      <p:sp>
        <p:nvSpPr>
          <p:cNvPr id="12" name="Curved Down Arrow 11"/>
          <p:cNvSpPr/>
          <p:nvPr/>
        </p:nvSpPr>
        <p:spPr>
          <a:xfrm>
            <a:off x="4089400" y="3784600"/>
            <a:ext cx="1117600" cy="3429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Flowchart: Document 12"/>
          <p:cNvSpPr/>
          <p:nvPr/>
        </p:nvSpPr>
        <p:spPr>
          <a:xfrm>
            <a:off x="5715000" y="3632200"/>
            <a:ext cx="3784600" cy="990600"/>
          </a:xfrm>
          <a:prstGeom prst="flowChartDocumen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llows capacity reservation and significant discount on the hourly charge of the instance – 1 year or 3 years  </a:t>
            </a:r>
            <a:endParaRPr lang="en-US" sz="1400" dirty="0" smtClean="0">
              <a:solidFill>
                <a:schemeClr val="tx2">
                  <a:lumMod val="50000"/>
                </a:schemeClr>
              </a:solidFill>
            </a:endParaRPr>
          </a:p>
        </p:txBody>
      </p:sp>
      <p:pic>
        <p:nvPicPr>
          <p:cNvPr id="14" name="Picture 13" descr="spotimages.jpg"/>
          <p:cNvPicPr>
            <a:picLocks noChangeAspect="1"/>
          </p:cNvPicPr>
          <p:nvPr/>
        </p:nvPicPr>
        <p:blipFill>
          <a:blip r:embed="rId4" cstate="print"/>
          <a:stretch>
            <a:fillRect/>
          </a:stretch>
        </p:blipFill>
        <p:spPr>
          <a:xfrm>
            <a:off x="1037590" y="4657090"/>
            <a:ext cx="1912620" cy="1531620"/>
          </a:xfrm>
          <a:prstGeom prst="rect">
            <a:avLst/>
          </a:prstGeom>
        </p:spPr>
      </p:pic>
      <p:sp>
        <p:nvSpPr>
          <p:cNvPr id="15" name="TextBox 14"/>
          <p:cNvSpPr txBox="1"/>
          <p:nvPr/>
        </p:nvSpPr>
        <p:spPr>
          <a:xfrm>
            <a:off x="3632200" y="4749800"/>
            <a:ext cx="1892300" cy="307777"/>
          </a:xfrm>
          <a:prstGeom prst="rect">
            <a:avLst/>
          </a:prstGeom>
          <a:noFill/>
        </p:spPr>
        <p:txBody>
          <a:bodyPr wrap="square" rtlCol="0">
            <a:spAutoFit/>
          </a:bodyPr>
          <a:lstStyle/>
          <a:p>
            <a:r>
              <a:rPr lang="en-US" sz="1400" b="1" dirty="0" smtClean="0">
                <a:solidFill>
                  <a:schemeClr val="tx2">
                    <a:lumMod val="50000"/>
                  </a:schemeClr>
                </a:solidFill>
              </a:rPr>
              <a:t>            Spot</a:t>
            </a:r>
            <a:endParaRPr lang="en-US" sz="1400" b="1" dirty="0" smtClean="0">
              <a:solidFill>
                <a:schemeClr val="tx2">
                  <a:lumMod val="50000"/>
                </a:schemeClr>
              </a:solidFill>
            </a:endParaRPr>
          </a:p>
        </p:txBody>
      </p:sp>
      <p:sp>
        <p:nvSpPr>
          <p:cNvPr id="16" name="Flowchart: Document 15"/>
          <p:cNvSpPr/>
          <p:nvPr/>
        </p:nvSpPr>
        <p:spPr>
          <a:xfrm>
            <a:off x="5778500" y="5130800"/>
            <a:ext cx="3784600" cy="990600"/>
          </a:xfrm>
          <a:prstGeom prst="flowChartDocumen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llows significant discount on the hourly charge of the instance – 1 year or 3 years  </a:t>
            </a:r>
            <a:endParaRPr lang="en-US" sz="1400" dirty="0" smtClean="0">
              <a:solidFill>
                <a:schemeClr val="tx2">
                  <a:lumMod val="50000"/>
                </a:schemeClr>
              </a:solidFill>
            </a:endParaRPr>
          </a:p>
        </p:txBody>
      </p:sp>
      <p:sp>
        <p:nvSpPr>
          <p:cNvPr id="17" name="Curved Down Arrow 16"/>
          <p:cNvSpPr/>
          <p:nvPr/>
        </p:nvSpPr>
        <p:spPr>
          <a:xfrm>
            <a:off x="4241800" y="5207000"/>
            <a:ext cx="1117600" cy="3429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Instance Pricing</a:t>
            </a:r>
            <a:endParaRPr lang="en-US" dirty="0"/>
          </a:p>
        </p:txBody>
      </p:sp>
      <p:sp>
        <p:nvSpPr>
          <p:cNvPr id="3" name="Content Placeholder 2"/>
          <p:cNvSpPr>
            <a:spLocks noGrp="1"/>
          </p:cNvSpPr>
          <p:nvPr>
            <p:ph sz="quarter" idx="10"/>
          </p:nvPr>
        </p:nvSpPr>
        <p:spPr>
          <a:ln>
            <a:solidFill>
              <a:schemeClr val="accent4">
                <a:lumMod val="40000"/>
                <a:lumOff val="60000"/>
              </a:schemeClr>
            </a:solidFill>
          </a:ln>
        </p:spPr>
        <p:txBody>
          <a:bodyPr/>
          <a:lstStyle/>
          <a:p>
            <a:r>
              <a:rPr lang="en-US" sz="1800" b="1" dirty="0" smtClean="0"/>
              <a:t>Click on the link given below to see the EC2 instance pricing </a:t>
            </a:r>
          </a:p>
          <a:p>
            <a:endParaRPr lang="en-US" dirty="0" smtClean="0">
              <a:solidFill>
                <a:schemeClr val="tx1"/>
              </a:solidFill>
            </a:endParaRPr>
          </a:p>
          <a:p>
            <a:pPr>
              <a:spcBef>
                <a:spcPct val="0"/>
              </a:spcBef>
              <a:buNone/>
            </a:pPr>
            <a:r>
              <a:rPr lang="en-US" sz="2600" dirty="0" smtClean="0">
                <a:solidFill>
                  <a:srgbClr val="AF1C63"/>
                </a:solidFill>
                <a:latin typeface="+mj-lt"/>
                <a:ea typeface="+mj-ea"/>
                <a:cs typeface="+mj-cs"/>
                <a:hlinkClick r:id="rId2"/>
              </a:rPr>
              <a:t>https</a:t>
            </a:r>
            <a:r>
              <a:rPr lang="en-US" sz="2600" dirty="0" smtClean="0">
                <a:solidFill>
                  <a:srgbClr val="AF1C63"/>
                </a:solidFill>
                <a:latin typeface="+mj-lt"/>
                <a:ea typeface="+mj-ea"/>
                <a:cs typeface="+mj-cs"/>
                <a:hlinkClick r:id="rId2"/>
              </a:rPr>
              <a:t>://aws.amazon.com/ec2/pricing/</a:t>
            </a:r>
            <a:endParaRPr lang="en-US" sz="2600" dirty="0" smtClean="0">
              <a:solidFill>
                <a:srgbClr val="AF1C63"/>
              </a:solidFill>
              <a:latin typeface="+mj-lt"/>
              <a:ea typeface="+mj-ea"/>
              <a:cs typeface="+mj-cs"/>
            </a:endParaRPr>
          </a:p>
          <a:p>
            <a:endParaRPr lang="en-US" dirty="0" smtClean="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ot Prices   </a:t>
            </a:r>
            <a:endParaRPr lang="en-US" dirty="0"/>
          </a:p>
        </p:txBody>
      </p:sp>
      <p:sp>
        <p:nvSpPr>
          <p:cNvPr id="3" name="Content Placeholder 2"/>
          <p:cNvSpPr>
            <a:spLocks noGrp="1"/>
          </p:cNvSpPr>
          <p:nvPr>
            <p:ph sz="quarter" idx="10"/>
          </p:nvPr>
        </p:nvSpPr>
        <p:spPr/>
        <p:txBody>
          <a:bodyPr/>
          <a:lstStyle/>
          <a:p>
            <a:pPr>
              <a:lnSpc>
                <a:spcPct val="150000"/>
              </a:lnSpc>
              <a:buClrTx/>
            </a:pPr>
            <a:endParaRPr lang="en-US" sz="2000" b="1" dirty="0" smtClean="0"/>
          </a:p>
          <a:p>
            <a:pPr>
              <a:lnSpc>
                <a:spcPct val="150000"/>
              </a:lnSpc>
              <a:buClrTx/>
            </a:pPr>
            <a:endParaRPr lang="en-US" sz="2000" b="1" dirty="0" smtClean="0"/>
          </a:p>
          <a:p>
            <a:pPr>
              <a:lnSpc>
                <a:spcPct val="150000"/>
              </a:lnSpc>
              <a:buClrTx/>
            </a:pPr>
            <a:r>
              <a:rPr lang="en-US" sz="2000" b="1" dirty="0" smtClean="0"/>
              <a:t>If the Spot instance is terminated by Amazon EC2 ,you will not be charged for a partial hour of usage . However , if you terminate the instance yourself ,you will be charged for any hour in which the instance ran . </a:t>
            </a:r>
          </a:p>
          <a:p>
            <a:pPr>
              <a:buClrTx/>
            </a:pPr>
            <a:endParaRPr lang="en-US" sz="2000" b="1" dirty="0" smtClean="0"/>
          </a:p>
          <a:p>
            <a:pPr>
              <a:buClrTx/>
            </a:pPr>
            <a:endParaRPr lang="en-US" sz="2000" b="1" dirty="0" smtClean="0"/>
          </a:p>
          <a:p>
            <a:pPr>
              <a:buClrTx/>
            </a:pPr>
            <a:endParaRPr lang="en-US" sz="2000" b="1" dirty="0" smtClean="0"/>
          </a:p>
          <a:p>
            <a:pPr>
              <a:buClrTx/>
              <a:buNone/>
            </a:pPr>
            <a:endParaRPr lang="en-US" sz="2000" b="1" dirty="0" smtClean="0"/>
          </a:p>
          <a:p>
            <a:pPr>
              <a:buClrTx/>
              <a:buNone/>
            </a:pPr>
            <a:endParaRPr lang="en-US" sz="2000" b="1"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Instance Types </a:t>
            </a:r>
            <a:endParaRPr lang="en-US" dirty="0"/>
          </a:p>
        </p:txBody>
      </p:sp>
      <p:pic>
        <p:nvPicPr>
          <p:cNvPr id="647170" name="Picture 2"/>
          <p:cNvPicPr>
            <a:picLocks noGrp="1" noChangeAspect="1" noChangeArrowheads="1"/>
          </p:cNvPicPr>
          <p:nvPr>
            <p:ph sz="quarter" idx="10"/>
          </p:nvPr>
        </p:nvPicPr>
        <p:blipFill>
          <a:blip r:embed="rId2" cstate="print"/>
          <a:srcRect/>
          <a:stretch>
            <a:fillRect/>
          </a:stretch>
        </p:blipFill>
        <p:spPr bwMode="auto">
          <a:xfrm>
            <a:off x="667951" y="1511300"/>
            <a:ext cx="8566923"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Instance Types - DIRTMCG</a:t>
            </a:r>
            <a:endParaRPr lang="en-US" dirty="0"/>
          </a:p>
        </p:txBody>
      </p:sp>
      <p:pic>
        <p:nvPicPr>
          <p:cNvPr id="658434" name="Picture 2"/>
          <p:cNvPicPr>
            <a:picLocks noGrp="1" noChangeAspect="1" noChangeArrowheads="1"/>
          </p:cNvPicPr>
          <p:nvPr>
            <p:ph sz="quarter" idx="10"/>
          </p:nvPr>
        </p:nvPicPr>
        <p:blipFill>
          <a:blip r:embed="rId2" cstate="print"/>
          <a:srcRect/>
          <a:stretch>
            <a:fillRect/>
          </a:stretch>
        </p:blipFill>
        <p:spPr bwMode="auto">
          <a:xfrm>
            <a:off x="671267" y="1511300"/>
            <a:ext cx="8560290" cy="4584700"/>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2 Instance Types </a:t>
            </a:r>
            <a:endParaRPr lang="en-US" dirty="0"/>
          </a:p>
        </p:txBody>
      </p:sp>
      <p:graphicFrame>
        <p:nvGraphicFramePr>
          <p:cNvPr id="4" name="Content Placeholder 3"/>
          <p:cNvGraphicFramePr>
            <a:graphicFrameLocks noGrp="1"/>
          </p:cNvGraphicFramePr>
          <p:nvPr>
            <p:ph sz="quarter" idx="10"/>
          </p:nvPr>
        </p:nvGraphicFramePr>
        <p:xfrm>
          <a:off x="317500" y="1511300"/>
          <a:ext cx="9267825" cy="4584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Elbow Connector 5"/>
          <p:cNvCxnSpPr/>
          <p:nvPr/>
        </p:nvCxnSpPr>
        <p:spPr>
          <a:xfrm flipV="1">
            <a:off x="5219700" y="55753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8432800" y="5422900"/>
            <a:ext cx="1003300" cy="307777"/>
          </a:xfrm>
          <a:prstGeom prst="rect">
            <a:avLst/>
          </a:prstGeom>
          <a:noFill/>
        </p:spPr>
        <p:txBody>
          <a:bodyPr wrap="square" rtlCol="0">
            <a:spAutoFit/>
          </a:bodyPr>
          <a:lstStyle/>
          <a:p>
            <a:r>
              <a:rPr lang="en-US" sz="1400" b="1" dirty="0" smtClean="0">
                <a:solidFill>
                  <a:schemeClr val="tx2">
                    <a:lumMod val="50000"/>
                  </a:schemeClr>
                </a:solidFill>
              </a:rPr>
              <a:t>Density</a:t>
            </a:r>
            <a:endParaRPr lang="en-US" sz="1400" b="1" dirty="0" smtClean="0">
              <a:solidFill>
                <a:schemeClr val="tx2">
                  <a:lumMod val="50000"/>
                </a:schemeClr>
              </a:solidFill>
            </a:endParaRPr>
          </a:p>
        </p:txBody>
      </p:sp>
      <p:cxnSp>
        <p:nvCxnSpPr>
          <p:cNvPr id="8" name="Elbow Connector 7"/>
          <p:cNvCxnSpPr/>
          <p:nvPr/>
        </p:nvCxnSpPr>
        <p:spPr>
          <a:xfrm flipV="1">
            <a:off x="5295900" y="50038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445500" y="3708400"/>
            <a:ext cx="1003300" cy="738664"/>
          </a:xfrm>
          <a:prstGeom prst="rect">
            <a:avLst/>
          </a:prstGeom>
          <a:noFill/>
        </p:spPr>
        <p:txBody>
          <a:bodyPr wrap="square" rtlCol="0">
            <a:spAutoFit/>
          </a:bodyPr>
          <a:lstStyle/>
          <a:p>
            <a:r>
              <a:rPr lang="en-US" sz="1400" b="1" dirty="0" smtClean="0">
                <a:solidFill>
                  <a:schemeClr val="tx2">
                    <a:lumMod val="50000"/>
                  </a:schemeClr>
                </a:solidFill>
              </a:rPr>
              <a:t>Cheap</a:t>
            </a:r>
            <a:r>
              <a:rPr lang="en-US" sz="1400" dirty="0" smtClean="0">
                <a:solidFill>
                  <a:schemeClr val="tx2">
                    <a:lumMod val="50000"/>
                  </a:schemeClr>
                </a:solidFill>
              </a:rPr>
              <a:t> </a:t>
            </a:r>
            <a:r>
              <a:rPr lang="en-US" sz="1400" b="1" dirty="0" smtClean="0">
                <a:solidFill>
                  <a:schemeClr val="tx2">
                    <a:lumMod val="50000"/>
                  </a:schemeClr>
                </a:solidFill>
              </a:rPr>
              <a:t>General Purpose</a:t>
            </a:r>
            <a:endParaRPr lang="en-US" sz="1400" b="1" dirty="0" smtClean="0">
              <a:solidFill>
                <a:schemeClr val="tx2">
                  <a:lumMod val="50000"/>
                </a:schemeClr>
              </a:solidFill>
            </a:endParaRPr>
          </a:p>
        </p:txBody>
      </p:sp>
      <p:cxnSp>
        <p:nvCxnSpPr>
          <p:cNvPr id="10" name="Elbow Connector 9"/>
          <p:cNvCxnSpPr/>
          <p:nvPr/>
        </p:nvCxnSpPr>
        <p:spPr>
          <a:xfrm flipV="1">
            <a:off x="5346700" y="46228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Elbow Connector 10"/>
          <p:cNvCxnSpPr/>
          <p:nvPr/>
        </p:nvCxnSpPr>
        <p:spPr>
          <a:xfrm flipV="1">
            <a:off x="5295900" y="18415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Elbow Connector 11"/>
          <p:cNvCxnSpPr/>
          <p:nvPr/>
        </p:nvCxnSpPr>
        <p:spPr>
          <a:xfrm flipV="1">
            <a:off x="5308600" y="41021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flipV="1">
            <a:off x="5346700" y="25654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13"/>
          <p:cNvCxnSpPr/>
          <p:nvPr/>
        </p:nvCxnSpPr>
        <p:spPr>
          <a:xfrm flipV="1">
            <a:off x="5321300" y="3149600"/>
            <a:ext cx="2908300" cy="215900"/>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521700" y="3733800"/>
            <a:ext cx="1003300" cy="307777"/>
          </a:xfrm>
          <a:prstGeom prst="rect">
            <a:avLst/>
          </a:prstGeom>
          <a:noFill/>
        </p:spPr>
        <p:txBody>
          <a:bodyPr wrap="square" rtlCol="0">
            <a:spAutoFit/>
          </a:bodyPr>
          <a:lstStyle/>
          <a:p>
            <a:r>
              <a:rPr lang="en-US" sz="1400" dirty="0" smtClean="0">
                <a:solidFill>
                  <a:schemeClr val="tx2">
                    <a:lumMod val="50000"/>
                  </a:schemeClr>
                </a:solidFill>
              </a:rPr>
              <a:t> </a:t>
            </a:r>
            <a:endParaRPr lang="en-US" sz="1400" b="1" dirty="0" smtClean="0">
              <a:solidFill>
                <a:schemeClr val="tx2">
                  <a:lumMod val="50000"/>
                </a:schemeClr>
              </a:solidFill>
            </a:endParaRPr>
          </a:p>
        </p:txBody>
      </p:sp>
      <p:sp>
        <p:nvSpPr>
          <p:cNvPr id="16" name="TextBox 15"/>
          <p:cNvSpPr txBox="1"/>
          <p:nvPr/>
        </p:nvSpPr>
        <p:spPr>
          <a:xfrm>
            <a:off x="8458200" y="4483100"/>
            <a:ext cx="1003300" cy="307777"/>
          </a:xfrm>
          <a:prstGeom prst="rect">
            <a:avLst/>
          </a:prstGeom>
          <a:noFill/>
        </p:spPr>
        <p:txBody>
          <a:bodyPr wrap="square" rtlCol="0">
            <a:spAutoFit/>
          </a:bodyPr>
          <a:lstStyle/>
          <a:p>
            <a:r>
              <a:rPr lang="en-US" sz="1400" dirty="0" smtClean="0">
                <a:solidFill>
                  <a:schemeClr val="tx2">
                    <a:lumMod val="50000"/>
                  </a:schemeClr>
                </a:solidFill>
              </a:rPr>
              <a:t> </a:t>
            </a:r>
            <a:r>
              <a:rPr lang="en-US" sz="1400" b="1" dirty="0" smtClean="0">
                <a:solidFill>
                  <a:schemeClr val="tx2">
                    <a:lumMod val="50000"/>
                  </a:schemeClr>
                </a:solidFill>
              </a:rPr>
              <a:t>RAM</a:t>
            </a:r>
            <a:endParaRPr lang="en-US" sz="1400" b="1" dirty="0" smtClean="0">
              <a:solidFill>
                <a:schemeClr val="tx2">
                  <a:lumMod val="50000"/>
                </a:schemeClr>
              </a:solidFill>
            </a:endParaRPr>
          </a:p>
        </p:txBody>
      </p:sp>
      <p:sp>
        <p:nvSpPr>
          <p:cNvPr id="17" name="TextBox 16"/>
          <p:cNvSpPr txBox="1"/>
          <p:nvPr/>
        </p:nvSpPr>
        <p:spPr>
          <a:xfrm>
            <a:off x="8445500" y="2374900"/>
            <a:ext cx="1003300" cy="307777"/>
          </a:xfrm>
          <a:prstGeom prst="rect">
            <a:avLst/>
          </a:prstGeom>
          <a:noFill/>
        </p:spPr>
        <p:txBody>
          <a:bodyPr wrap="square" rtlCol="0">
            <a:spAutoFit/>
          </a:bodyPr>
          <a:lstStyle/>
          <a:p>
            <a:r>
              <a:rPr lang="en-US" sz="1400" dirty="0" smtClean="0">
                <a:solidFill>
                  <a:schemeClr val="tx2">
                    <a:lumMod val="50000"/>
                  </a:schemeClr>
                </a:solidFill>
              </a:rPr>
              <a:t> </a:t>
            </a:r>
            <a:r>
              <a:rPr lang="en-US" sz="1400" b="1" dirty="0" smtClean="0">
                <a:solidFill>
                  <a:schemeClr val="tx2">
                    <a:lumMod val="50000"/>
                  </a:schemeClr>
                </a:solidFill>
              </a:rPr>
              <a:t>Compute</a:t>
            </a:r>
            <a:endParaRPr lang="en-US" sz="1400" b="1" dirty="0" smtClean="0">
              <a:solidFill>
                <a:schemeClr val="tx2">
                  <a:lumMod val="50000"/>
                </a:schemeClr>
              </a:solidFill>
            </a:endParaRPr>
          </a:p>
        </p:txBody>
      </p:sp>
      <p:sp>
        <p:nvSpPr>
          <p:cNvPr id="18" name="TextBox 17"/>
          <p:cNvSpPr txBox="1"/>
          <p:nvPr/>
        </p:nvSpPr>
        <p:spPr>
          <a:xfrm>
            <a:off x="8483600" y="2755900"/>
            <a:ext cx="927100" cy="738664"/>
          </a:xfrm>
          <a:prstGeom prst="rect">
            <a:avLst/>
          </a:prstGeom>
          <a:noFill/>
        </p:spPr>
        <p:txBody>
          <a:bodyPr wrap="square" rtlCol="0">
            <a:spAutoFit/>
          </a:bodyPr>
          <a:lstStyle/>
          <a:p>
            <a:r>
              <a:rPr lang="en-US" sz="1400" dirty="0" smtClean="0">
                <a:solidFill>
                  <a:schemeClr val="tx2">
                    <a:lumMod val="50000"/>
                  </a:schemeClr>
                </a:solidFill>
              </a:rPr>
              <a:t> </a:t>
            </a:r>
            <a:r>
              <a:rPr lang="en-US" sz="1400" b="1" dirty="0" smtClean="0">
                <a:solidFill>
                  <a:schemeClr val="tx2">
                    <a:lumMod val="50000"/>
                  </a:schemeClr>
                </a:solidFill>
              </a:rPr>
              <a:t>Gen.Purp. Apps</a:t>
            </a:r>
            <a:endParaRPr lang="en-US" sz="1400" b="1" dirty="0" smtClean="0">
              <a:solidFill>
                <a:schemeClr val="tx2">
                  <a:lumMod val="50000"/>
                </a:schemeClr>
              </a:solidFill>
            </a:endParaRPr>
          </a:p>
        </p:txBody>
      </p:sp>
      <p:sp>
        <p:nvSpPr>
          <p:cNvPr id="19" name="TextBox 18"/>
          <p:cNvSpPr txBox="1"/>
          <p:nvPr/>
        </p:nvSpPr>
        <p:spPr>
          <a:xfrm>
            <a:off x="8458200" y="1739900"/>
            <a:ext cx="1003300" cy="307777"/>
          </a:xfrm>
          <a:prstGeom prst="rect">
            <a:avLst/>
          </a:prstGeom>
          <a:noFill/>
        </p:spPr>
        <p:txBody>
          <a:bodyPr wrap="square" rtlCol="0">
            <a:spAutoFit/>
          </a:bodyPr>
          <a:lstStyle/>
          <a:p>
            <a:r>
              <a:rPr lang="en-US" sz="1400" dirty="0" smtClean="0">
                <a:solidFill>
                  <a:schemeClr val="tx2">
                    <a:lumMod val="50000"/>
                  </a:schemeClr>
                </a:solidFill>
              </a:rPr>
              <a:t> </a:t>
            </a:r>
            <a:r>
              <a:rPr lang="en-US" sz="1400" b="1" dirty="0" smtClean="0">
                <a:solidFill>
                  <a:schemeClr val="tx2">
                    <a:lumMod val="50000"/>
                  </a:schemeClr>
                </a:solidFill>
              </a:rPr>
              <a:t>Graphics</a:t>
            </a:r>
            <a:endParaRPr lang="en-US" sz="1400" b="1" dirty="0" smtClean="0">
              <a:solidFill>
                <a:schemeClr val="tx2">
                  <a:lumMod val="50000"/>
                </a:schemeClr>
              </a:solidFill>
            </a:endParaRPr>
          </a:p>
        </p:txBody>
      </p:sp>
      <p:sp>
        <p:nvSpPr>
          <p:cNvPr id="20" name="TextBox 19"/>
          <p:cNvSpPr txBox="1"/>
          <p:nvPr/>
        </p:nvSpPr>
        <p:spPr>
          <a:xfrm>
            <a:off x="8458200" y="4826000"/>
            <a:ext cx="1003300" cy="307777"/>
          </a:xfrm>
          <a:prstGeom prst="rect">
            <a:avLst/>
          </a:prstGeom>
          <a:noFill/>
        </p:spPr>
        <p:txBody>
          <a:bodyPr wrap="square" rtlCol="0">
            <a:spAutoFit/>
          </a:bodyPr>
          <a:lstStyle/>
          <a:p>
            <a:r>
              <a:rPr lang="en-US" sz="1400" dirty="0" smtClean="0">
                <a:solidFill>
                  <a:schemeClr val="tx2">
                    <a:lumMod val="50000"/>
                  </a:schemeClr>
                </a:solidFill>
              </a:rPr>
              <a:t> </a:t>
            </a:r>
            <a:r>
              <a:rPr lang="en-US" sz="1400" b="1" dirty="0" smtClean="0">
                <a:solidFill>
                  <a:schemeClr val="tx2">
                    <a:lumMod val="50000"/>
                  </a:schemeClr>
                </a:solidFill>
              </a:rPr>
              <a:t>IOPS</a:t>
            </a:r>
            <a:endParaRPr lang="en-US" sz="1400" b="1" dirty="0" smtClean="0">
              <a:solidFill>
                <a:schemeClr val="tx2">
                  <a:lumMod val="50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EBS ?</a:t>
            </a:r>
            <a:endParaRPr lang="en-US" dirty="0"/>
          </a:p>
        </p:txBody>
      </p:sp>
      <p:sp>
        <p:nvSpPr>
          <p:cNvPr id="3" name="Content Placeholder 2"/>
          <p:cNvSpPr>
            <a:spLocks noGrp="1"/>
          </p:cNvSpPr>
          <p:nvPr>
            <p:ph sz="quarter" idx="10"/>
          </p:nvPr>
        </p:nvSpPr>
        <p:spPr/>
        <p:txBody>
          <a:bodyPr/>
          <a:lstStyle/>
          <a:p>
            <a:pPr>
              <a:lnSpc>
                <a:spcPct val="200000"/>
              </a:lnSpc>
            </a:pPr>
            <a:r>
              <a:rPr lang="en-US" sz="2000" b="1" dirty="0" smtClean="0"/>
              <a:t>Amazon EBS allows you to create storage volumes and attach them to Amazon EC2 instances . Once attached, you create a file system on top of these volumes ,run a database , or use them in any other way you would use a block device .Amazon EBS volumes are placed in a specific  Availability Zone ,where they are automatically replicated to protect you from the failure of a single component  .</a:t>
            </a:r>
            <a:endParaRPr lang="en-US" sz="2000"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BS Volume Types </a:t>
            </a:r>
            <a:endParaRPr lang="en-US" dirty="0"/>
          </a:p>
        </p:txBody>
      </p:sp>
      <p:sp>
        <p:nvSpPr>
          <p:cNvPr id="3" name="Content Placeholder 2"/>
          <p:cNvSpPr>
            <a:spLocks noGrp="1"/>
          </p:cNvSpPr>
          <p:nvPr>
            <p:ph sz="quarter" idx="10"/>
          </p:nvPr>
        </p:nvSpPr>
        <p:spPr>
          <a:xfrm>
            <a:off x="266701" y="1346200"/>
            <a:ext cx="9267824" cy="4699000"/>
          </a:xfrm>
        </p:spPr>
        <p:txBody>
          <a:bodyPr/>
          <a:lstStyle/>
          <a:p>
            <a:pPr>
              <a:buClr>
                <a:schemeClr val="tx1"/>
              </a:buClr>
            </a:pPr>
            <a:r>
              <a:rPr lang="en-US" sz="2000" dirty="0" smtClean="0"/>
              <a:t>General Purpose SSD (GP2)</a:t>
            </a:r>
          </a:p>
          <a:p>
            <a:pPr lvl="1">
              <a:buClr>
                <a:schemeClr val="tx1"/>
              </a:buClr>
            </a:pPr>
            <a:r>
              <a:rPr lang="en-US" sz="2000" dirty="0" smtClean="0"/>
              <a:t> Designed for 99.999% availability</a:t>
            </a:r>
          </a:p>
          <a:p>
            <a:pPr lvl="1">
              <a:buClr>
                <a:schemeClr val="tx1"/>
              </a:buClr>
            </a:pPr>
            <a:r>
              <a:rPr lang="en-US" sz="2000" dirty="0" smtClean="0"/>
              <a:t> Ratio of 3 IOPS with per GB with up to 10,000 IOPS and the ability to burst up to 3000  IOPS for short periods for volumes under 1 Gib</a:t>
            </a:r>
          </a:p>
          <a:p>
            <a:pPr>
              <a:buClr>
                <a:schemeClr val="tx1"/>
              </a:buClr>
            </a:pPr>
            <a:endParaRPr lang="en-US" sz="2000" dirty="0" smtClean="0"/>
          </a:p>
          <a:p>
            <a:pPr>
              <a:buClr>
                <a:schemeClr val="tx1"/>
              </a:buClr>
            </a:pPr>
            <a:r>
              <a:rPr lang="en-US" sz="2000" dirty="0" smtClean="0"/>
              <a:t>Provisioned IOPS SSD (101)</a:t>
            </a:r>
          </a:p>
          <a:p>
            <a:pPr lvl="1">
              <a:buClr>
                <a:schemeClr val="tx1"/>
              </a:buClr>
            </a:pPr>
            <a:r>
              <a:rPr lang="en-US" sz="2000" dirty="0" smtClean="0"/>
              <a:t> Designed for I/O intensive applications such as large relational or NOSQL databases .Use if you need more than 10,000  IOPS </a:t>
            </a:r>
          </a:p>
          <a:p>
            <a:pPr>
              <a:buClr>
                <a:schemeClr val="tx1"/>
              </a:buClr>
            </a:pPr>
            <a:endParaRPr lang="en-US" sz="2000" dirty="0" smtClean="0"/>
          </a:p>
          <a:p>
            <a:pPr>
              <a:buClr>
                <a:schemeClr val="tx1"/>
              </a:buClr>
            </a:pPr>
            <a:r>
              <a:rPr lang="en-US" sz="2000" dirty="0" smtClean="0"/>
              <a:t>Magnetic (Standard)</a:t>
            </a:r>
          </a:p>
          <a:p>
            <a:pPr lvl="1">
              <a:buClr>
                <a:schemeClr val="tx1"/>
              </a:buClr>
            </a:pPr>
            <a:r>
              <a:rPr lang="en-US" sz="2000" dirty="0" smtClean="0"/>
              <a:t>Lowest cost  per gigabyte of all EBS volume types .Magnetic volumes are ideal for workloads where data is accessed infrequently , and applications where the lowest storage cost is important </a:t>
            </a:r>
            <a:endParaRPr lang="en-US" sz="20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BS </a:t>
            </a:r>
            <a:endParaRPr lang="en-US" dirty="0"/>
          </a:p>
        </p:txBody>
      </p:sp>
      <p:sp>
        <p:nvSpPr>
          <p:cNvPr id="3" name="Content Placeholder 2"/>
          <p:cNvSpPr>
            <a:spLocks noGrp="1"/>
          </p:cNvSpPr>
          <p:nvPr>
            <p:ph sz="quarter" idx="10"/>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sz="2000" b="1" dirty="0" smtClean="0"/>
              <a:t>You cannot mount 1 EBS Volume to multiple EC2 instances,instead use EFS</a:t>
            </a:r>
            <a:endParaRPr lang="en-US" sz="2000" b="1" dirty="0"/>
          </a:p>
        </p:txBody>
      </p:sp>
      <p:pic>
        <p:nvPicPr>
          <p:cNvPr id="6" name="Picture 5" descr="mount.jpg"/>
          <p:cNvPicPr>
            <a:picLocks noChangeAspect="1"/>
          </p:cNvPicPr>
          <p:nvPr/>
        </p:nvPicPr>
        <p:blipFill>
          <a:blip r:embed="rId2" cstate="print"/>
          <a:stretch>
            <a:fillRect/>
          </a:stretch>
        </p:blipFill>
        <p:spPr>
          <a:xfrm>
            <a:off x="3683000" y="1572260"/>
            <a:ext cx="1676400" cy="1173480"/>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B</a:t>
            </a:r>
            <a:endParaRPr lang="en-US" dirty="0"/>
          </a:p>
        </p:txBody>
      </p:sp>
      <p:graphicFrame>
        <p:nvGraphicFramePr>
          <p:cNvPr id="4" name="Content Placeholder 3"/>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ELBs not free.jpg"/>
          <p:cNvPicPr>
            <a:picLocks noChangeAspect="1"/>
          </p:cNvPicPr>
          <p:nvPr/>
        </p:nvPicPr>
        <p:blipFill>
          <a:blip r:embed="rId7" cstate="print"/>
          <a:stretch>
            <a:fillRect/>
          </a:stretch>
        </p:blipFill>
        <p:spPr>
          <a:xfrm>
            <a:off x="594360" y="3384550"/>
            <a:ext cx="1402080" cy="1333500"/>
          </a:xfrm>
          <a:prstGeom prst="rect">
            <a:avLst/>
          </a:prstGeom>
        </p:spPr>
      </p:pic>
      <p:pic>
        <p:nvPicPr>
          <p:cNvPr id="6" name="Picture 5" descr="free.jpg"/>
          <p:cNvPicPr>
            <a:picLocks noChangeAspect="1"/>
          </p:cNvPicPr>
          <p:nvPr/>
        </p:nvPicPr>
        <p:blipFill>
          <a:blip r:embed="rId8" cstate="print"/>
          <a:stretch>
            <a:fillRect/>
          </a:stretch>
        </p:blipFill>
        <p:spPr>
          <a:xfrm>
            <a:off x="7277100" y="4465320"/>
            <a:ext cx="2286000" cy="1280160"/>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ELB Protocols</a:t>
            </a:r>
            <a:endParaRPr lang="en-US" dirty="0"/>
          </a:p>
        </p:txBody>
      </p:sp>
      <p:sp>
        <p:nvSpPr>
          <p:cNvPr id="3" name="Content Placeholder 2"/>
          <p:cNvSpPr>
            <a:spLocks noGrp="1"/>
          </p:cNvSpPr>
          <p:nvPr>
            <p:ph sz="quarter" idx="10"/>
          </p:nvPr>
        </p:nvSpPr>
        <p:spPr/>
        <p:txBody>
          <a:bodyPr/>
          <a:lstStyle/>
          <a:p>
            <a:r>
              <a:rPr lang="en-US" sz="2000" dirty="0" smtClean="0"/>
              <a:t>HTTP</a:t>
            </a:r>
          </a:p>
          <a:p>
            <a:r>
              <a:rPr lang="en-US" sz="2000" dirty="0" smtClean="0"/>
              <a:t>HTTPS (Secure HTTP)</a:t>
            </a:r>
          </a:p>
          <a:p>
            <a:r>
              <a:rPr lang="en-US" sz="2000" dirty="0" smtClean="0"/>
              <a:t>TCP</a:t>
            </a:r>
          </a:p>
          <a:p>
            <a:r>
              <a:rPr lang="en-US" sz="2000" dirty="0" smtClean="0"/>
              <a:t>SSL (Secure TCP )</a:t>
            </a:r>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le SDK’s</a:t>
            </a:r>
            <a:endParaRPr lang="en-US" dirty="0"/>
          </a:p>
        </p:txBody>
      </p:sp>
      <p:graphicFrame>
        <p:nvGraphicFramePr>
          <p:cNvPr id="4" name="Content Placeholder 3"/>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DK ‘s Default Regions</a:t>
            </a:r>
            <a:endParaRPr lang="en-US" dirty="0"/>
          </a:p>
        </p:txBody>
      </p:sp>
      <p:graphicFrame>
        <p:nvGraphicFramePr>
          <p:cNvPr id="4" name="Content Placeholder 3"/>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nce Metadata</a:t>
            </a:r>
            <a:endParaRPr lang="en-US" dirty="0"/>
          </a:p>
        </p:txBody>
      </p:sp>
      <p:pic>
        <p:nvPicPr>
          <p:cNvPr id="651266" name="Picture 2"/>
          <p:cNvPicPr>
            <a:picLocks noGrp="1" noChangeAspect="1" noChangeArrowheads="1"/>
          </p:cNvPicPr>
          <p:nvPr>
            <p:ph sz="quarter" idx="10"/>
          </p:nvPr>
        </p:nvPicPr>
        <p:blipFill>
          <a:blip r:embed="rId2" cstate="print"/>
          <a:srcRect/>
          <a:stretch>
            <a:fillRect/>
          </a:stretch>
        </p:blipFill>
        <p:spPr bwMode="auto">
          <a:xfrm>
            <a:off x="419100" y="1320318"/>
            <a:ext cx="9267825" cy="4509463"/>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4093428"/>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EC2</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EC2  Options and Pricing – On Demand , Reserved , Spot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EC2 Instance Types </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What is ELB</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EBS Volume </a:t>
            </a:r>
            <a:r>
              <a:rPr lang="en-US" sz="2000" b="1" dirty="0" smtClean="0">
                <a:solidFill>
                  <a:schemeClr val="tx2">
                    <a:lumMod val="50000"/>
                  </a:schemeClr>
                </a:solidFill>
              </a:rPr>
              <a:t>Types</a:t>
            </a: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Default </a:t>
            </a:r>
            <a:r>
              <a:rPr lang="en-US" sz="2000" b="1" dirty="0" smtClean="0">
                <a:solidFill>
                  <a:schemeClr val="tx2">
                    <a:lumMod val="50000"/>
                  </a:schemeClr>
                </a:solidFill>
              </a:rPr>
              <a:t>regions</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Instance Metadata </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EC2?</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are EC2 options ?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n Demand, Reserved and Spot</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EC2 Instance Types</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EBS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are EBS Volume types</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EC2</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EC2</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C2 Optio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the On Demand ,Reserved and SPOT Instance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EB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EBS Volume Types </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4297</TotalTime>
  <Words>1257</Words>
  <Application>Microsoft Office PowerPoint</Application>
  <PresentationFormat>A4 Paper (210x297 mm)</PresentationFormat>
  <Paragraphs>229</Paragraphs>
  <Slides>28</Slides>
  <Notes>10</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8</vt:i4>
      </vt:variant>
    </vt:vector>
  </HeadingPairs>
  <TitlesOfParts>
    <vt:vector size="60"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 EC2</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EC2 Options</vt:lpstr>
      <vt:lpstr>EC2 Options </vt:lpstr>
      <vt:lpstr>EC2 Instance Pricing</vt:lpstr>
      <vt:lpstr>Spot Prices   </vt:lpstr>
      <vt:lpstr>EC2 Instance Types </vt:lpstr>
      <vt:lpstr>EC2 Instance Types - DIRTMCG</vt:lpstr>
      <vt:lpstr>EC2 Instance Types </vt:lpstr>
      <vt:lpstr>What is EBS ?</vt:lpstr>
      <vt:lpstr>EBS Volume Types </vt:lpstr>
      <vt:lpstr>EBS </vt:lpstr>
      <vt:lpstr>ELB</vt:lpstr>
      <vt:lpstr>Supported ELB Protocols</vt:lpstr>
      <vt:lpstr>Available SDK’s</vt:lpstr>
      <vt:lpstr>SDK ‘s Default Regions</vt:lpstr>
      <vt:lpstr>Instance Metadata</vt:lpstr>
      <vt:lpstr>Slide 27</vt:lpstr>
      <vt:lpstr>Slide 2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11</cp:revision>
  <dcterms:created xsi:type="dcterms:W3CDTF">2015-03-06T11:43:58Z</dcterms:created>
  <dcterms:modified xsi:type="dcterms:W3CDTF">2016-10-03T12:1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